
<file path=[Content_Types].xml><?xml version="1.0" encoding="utf-8"?>
<Types xmlns="http://schemas.openxmlformats.org/package/2006/content-types">
  <Override PartName="/ppt/theme/theme5.xml" ContentType="application/vnd.openxmlformats-officedocument.theme+xml"/>
  <Override PartName="/ppt/slideLayouts/slideLayout307.xml" ContentType="application/vnd.openxmlformats-officedocument.presentationml.slideLayout+xml"/>
  <Override PartName="/ppt/slideLayouts/slideLayout354.xml" ContentType="application/vnd.openxmlformats-officedocument.presentationml.slideLayout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408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29.xml" ContentType="application/vnd.openxmlformats-officedocument.theme+xml"/>
  <Override PartName="/ppt/slideMasters/slideMaster33.xml" ContentType="application/vnd.openxmlformats-officedocument.presentationml.slideMaster+xml"/>
  <Override PartName="/ppt/slideLayouts/slideLayout102.xml" ContentType="application/vnd.openxmlformats-officedocument.presentationml.slideLayout+xml"/>
  <Override PartName="/ppt/tags/tag16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32.xml" ContentType="application/vnd.openxmlformats-officedocument.theme+xml"/>
  <Override PartName="/ppt/slideLayouts/slideLayout395.xml" ContentType="application/vnd.openxmlformats-officedocument.presentationml.slideLayout+xml"/>
  <Override PartName="/ppt/charts/chart3.xml" ContentType="application/vnd.openxmlformats-officedocument.drawingml.chart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s/slide19.xml" ContentType="application/vnd.openxmlformats-officedocument.presentationml.slide+xml"/>
  <Default Extension="png" ContentType="image/png"/>
  <Override PartName="/ppt/slideLayouts/slideLayout118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ags/tag5.xml" ContentType="application/vnd.openxmlformats-officedocument.presentationml.tags+xml"/>
  <Override PartName="/ppt/slideMasters/slideMaster27.xml" ContentType="application/vnd.openxmlformats-officedocument.presentationml.slideMaster+xml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s/slide22.xml" ContentType="application/vnd.openxmlformats-officedocument.presentationml.slide+xml"/>
  <Override PartName="/ppt/slideLayouts/slideLayout219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26.xml" ContentType="application/vnd.openxmlformats-officedocument.theme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Masters/slideMaster30.xml" ContentType="application/vnd.openxmlformats-officedocument.presentationml.slideMaster+xml"/>
  <Override PartName="/ppt/slideLayouts/slideLayout244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ags/tag13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92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37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Masters/slideMaster24.xml" ContentType="application/vnd.openxmlformats-officedocument.presentationml.slideMaster+xml"/>
  <Override PartName="/ppt/slideLayouts/slideLayout40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23.xml" ContentType="application/vnd.openxmlformats-officedocument.theme+xml"/>
  <Override PartName="/ppt/slideLayouts/slideLayout402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56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12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17.xml" ContentType="application/vnd.openxmlformats-officedocument.theme+xml"/>
  <Override PartName="/ppt/slideLayouts/slideLayout235.xml" ContentType="application/vnd.openxmlformats-officedocument.presentationml.slideLayout+xml"/>
  <Override PartName="/ppt/slideMasters/slideMaster21.xml" ContentType="application/vnd.openxmlformats-officedocument.presentationml.slideMaster+xml"/>
  <Override PartName="/ppt/slideLayouts/slideLayout282.xml" ContentType="application/vnd.openxmlformats-officedocument.presentationml.slideLayout+xml"/>
  <Override PartName="/ppt/slideLayouts/slideLayout421.xml" ContentType="application/vnd.openxmlformats-officedocument.presentationml.slideLayout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20.xml" ContentType="application/vnd.openxmlformats-officedocument.theme+xml"/>
  <Override PartName="/ppt/slideLayouts/slideLayout336.xml" ContentType="application/vnd.openxmlformats-officedocument.presentationml.slideLayout+xml"/>
  <Override PartName="/ppt/slideLayouts/slideLayout383.xml" ContentType="application/vnd.openxmlformats-officedocument.presentationml.slideLayout+xml"/>
  <Override PartName="/ppt/charts/chart2.xml" ContentType="application/vnd.openxmlformats-officedocument.drawingml.char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Masters/slideMaster26.xml" ContentType="application/vnd.openxmlformats-officedocument.presentationml.slideMaster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heme/theme36.xml" ContentType="application/vnd.openxmlformats-officedocument.theme+xml"/>
  <Override PartName="/ppt/theme/theme14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25.xml" ContentType="application/vnd.openxmlformats-officedocument.theme+xml"/>
  <Override PartName="/ppt/slideLayouts/slideLayout388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ags/tag9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91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Masters/slideMaster34.xml" ContentType="application/vnd.openxmlformats-officedocument.presentationml.slideMaster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slideLayouts/slideLayout248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ags/tag1.xml" ContentType="application/vnd.openxmlformats-officedocument.presentationml.tags+xml"/>
  <Override PartName="/ppt/slideMasters/slideMaster23.xml" ContentType="application/vnd.openxmlformats-officedocument.presentationml.slideMaster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423.xml" ContentType="application/vnd.openxmlformats-officedocument.presentationml.slideLayout+xml"/>
  <Override PartName="/ppt/tags/tag17.xml" ContentType="application/vnd.openxmlformats-officedocument.presentationml.tags+xml"/>
  <Default Extension="wdp" ContentType="image/vnd.ms-photo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33.xml" ContentType="application/vnd.openxmlformats-officedocument.theme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22.xml" ContentType="application/vnd.openxmlformats-officedocument.theme+xml"/>
  <Override PartName="/ppt/slideLayouts/slideLayout338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40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74.xml" ContentType="application/vnd.openxmlformats-officedocument.presentationml.slideLayout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Masters/slideMaster28.xml" ContentType="application/vnd.openxmlformats-officedocument.presentationml.slideMaster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28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heme/theme38.xml" ContentType="application/vnd.openxmlformats-officedocument.theme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slideLayouts/slideLayout245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27.xml" ContentType="application/vnd.openxmlformats-officedocument.theme+xml"/>
  <Override PartName="/ppt/slideMasters/slideMaster31.xml" ContentType="application/vnd.openxmlformats-officedocument.presentationml.slideMaster+xml"/>
  <Override PartName="/ppt/commentAuthors.xml" ContentType="application/vnd.openxmlformats-officedocument.presentationml.commentAuthors+xml"/>
  <Override PartName="/ppt/slideLayouts/slideLayout100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tags/tag14.xml" ContentType="application/vnd.openxmlformats-officedocument.presentationml.tags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346.xml" ContentType="application/vnd.openxmlformats-officedocument.presentationml.slideLayout+xml"/>
  <Override PartName="/ppt/theme/theme30.xml" ContentType="application/vnd.openxmlformats-officedocument.theme+xml"/>
  <Override PartName="/ppt/slideLayouts/slideLayout393.xml" ContentType="application/vnd.openxmlformats-officedocument.presentationml.slideLayout+xml"/>
  <Override PartName="/ppt/charts/chart1.xml" ContentType="application/vnd.openxmlformats-officedocument.drawingml.chart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60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ags/tag3.xml" ContentType="application/vnd.openxmlformats-officedocument.presentationml.tags+xml"/>
  <Override PartName="/ppt/slideMasters/slideMaster2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425.xml" ContentType="application/vnd.openxmlformats-officedocument.presentationml.slideLayout+xml"/>
  <Override PartName="/ppt/tags/tag19.xml" ContentType="application/vnd.openxmlformats-officedocument.presentationml.tags+xml"/>
  <Override PartName="/ppt/slideMasters/slideMaster14.xml" ContentType="application/vnd.openxmlformats-officedocument.presentationml.slideMaster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414.xml" ContentType="application/vnd.openxmlformats-officedocument.presentationml.slideLayout+xml"/>
  <Override PartName="/ppt/theme/theme35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4.xml" ContentType="application/vnd.openxmlformats-officedocument.theme+xml"/>
  <Override PartName="/ppt/slideLayouts/slideLayout38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heme/theme13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65.xml" ContentType="application/vnd.openxmlformats-officedocument.presentationml.slideLayout+xml"/>
  <Override PartName="/ppt/tags/tag11.xml" ContentType="application/vnd.openxmlformats-officedocument.presentationml.tags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90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tableStyles.xml" ContentType="application/vnd.openxmlformats-officedocument.presentationml.tableStyle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Masters/slideMaster22.xml" ContentType="application/vnd.openxmlformats-officedocument.presentationml.slideMaster+xml"/>
  <Override PartName="/ppt/slideLayouts/slideLayout359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1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340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416.xml" ContentType="application/vnd.openxmlformats-officedocument.presentationml.slideLayout+xml"/>
  <Override PartName="/ppt/theme/theme37.xml" ContentType="application/vnd.openxmlformats-officedocument.them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10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15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ags/tag24.xml" ContentType="application/vnd.openxmlformats-officedocument.presentationml.tags+xml"/>
  <Override PartName="/ppt/theme/theme7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Masters/slideMaster35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413.xml" ContentType="application/vnd.openxmlformats-officedocument.presentationml.slideLayout+xml"/>
  <Override PartName="/ppt/tags/tag18.xml" ContentType="application/vnd.openxmlformats-officedocument.presentationml.tags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397.xml" ContentType="application/vnd.openxmlformats-officedocument.presentationml.slideLayout+xml"/>
  <Override PartName="/ppt/theme/theme34.xml" ContentType="application/vnd.openxmlformats-officedocument.theme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ags/tag21.xml" ContentType="application/vnd.openxmlformats-officedocument.presentationml.tags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ags/tag7.xml" ContentType="application/vnd.openxmlformats-officedocument.presentationml.tags+xml"/>
  <Override PartName="/ppt/slideMasters/slideMaster29.xml" ContentType="application/vnd.openxmlformats-officedocument.presentationml.slideMaster+xml"/>
  <Override PartName="/ppt/slideLayouts/slideLayout45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28.xml" ContentType="application/vnd.openxmlformats-officedocument.theme+xml"/>
  <Override PartName="/ppt/slideLayouts/slideLayout407.xml" ContentType="application/vnd.openxmlformats-officedocument.presentationml.slideLayout+xml"/>
  <Override PartName="/ppt/slideMasters/slideMaster32.xml" ContentType="application/vnd.openxmlformats-officedocument.presentationml.slideMaster+xml"/>
  <Override PartName="/ppt/slideLayouts/slideLayout101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369.xml" ContentType="application/vnd.openxmlformats-officedocument.presentationml.slideLayout+xml"/>
  <Override PartName="/ppt/tags/tag15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Layouts/slideLayout347.xml" ContentType="application/vnd.openxmlformats-officedocument.presentationml.slideLayout+xml"/>
  <Override PartName="/ppt/theme/theme31.xml" ContentType="application/vnd.openxmlformats-officedocument.theme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4223" r:id="rId2"/>
    <p:sldMasterId id="2147484236" r:id="rId3"/>
    <p:sldMasterId id="2147484248" r:id="rId4"/>
    <p:sldMasterId id="2147484260" r:id="rId5"/>
    <p:sldMasterId id="2147484273" r:id="rId6"/>
    <p:sldMasterId id="2147484285" r:id="rId7"/>
    <p:sldMasterId id="2147484297" r:id="rId8"/>
    <p:sldMasterId id="2147484309" r:id="rId9"/>
    <p:sldMasterId id="2147484321" r:id="rId10"/>
    <p:sldMasterId id="2147484333" r:id="rId11"/>
    <p:sldMasterId id="2147484345" r:id="rId12"/>
    <p:sldMasterId id="2147484357" r:id="rId13"/>
    <p:sldMasterId id="2147484370" r:id="rId14"/>
    <p:sldMasterId id="2147484382" r:id="rId15"/>
    <p:sldMasterId id="2147484394" r:id="rId16"/>
    <p:sldMasterId id="2147484406" r:id="rId17"/>
    <p:sldMasterId id="2147484418" r:id="rId18"/>
    <p:sldMasterId id="2147484430" r:id="rId19"/>
    <p:sldMasterId id="2147484442" r:id="rId20"/>
    <p:sldMasterId id="2147484515" r:id="rId21"/>
    <p:sldMasterId id="2147484527" r:id="rId22"/>
    <p:sldMasterId id="2147484540" r:id="rId23"/>
    <p:sldMasterId id="2147484577" r:id="rId24"/>
    <p:sldMasterId id="2147484590" r:id="rId25"/>
    <p:sldMasterId id="2147484602" r:id="rId26"/>
    <p:sldMasterId id="2147484614" r:id="rId27"/>
    <p:sldMasterId id="2147484626" r:id="rId28"/>
    <p:sldMasterId id="2147484638" r:id="rId29"/>
    <p:sldMasterId id="2147484651" r:id="rId30"/>
    <p:sldMasterId id="2147484663" r:id="rId31"/>
    <p:sldMasterId id="2147484675" r:id="rId32"/>
    <p:sldMasterId id="2147484687" r:id="rId33"/>
    <p:sldMasterId id="2147484699" r:id="rId34"/>
    <p:sldMasterId id="2147484711" r:id="rId35"/>
    <p:sldMasterId id="2147484723" r:id="rId36"/>
  </p:sldMasterIdLst>
  <p:notesMasterIdLst>
    <p:notesMasterId r:id="rId60"/>
  </p:notesMasterIdLst>
  <p:handoutMasterIdLst>
    <p:handoutMasterId r:id="rId61"/>
  </p:handoutMasterIdLst>
  <p:sldIdLst>
    <p:sldId id="340" r:id="rId37"/>
    <p:sldId id="554" r:id="rId38"/>
    <p:sldId id="555" r:id="rId39"/>
    <p:sldId id="556" r:id="rId40"/>
    <p:sldId id="557" r:id="rId41"/>
    <p:sldId id="517" r:id="rId42"/>
    <p:sldId id="518" r:id="rId43"/>
    <p:sldId id="519" r:id="rId44"/>
    <p:sldId id="520" r:id="rId45"/>
    <p:sldId id="543" r:id="rId46"/>
    <p:sldId id="544" r:id="rId47"/>
    <p:sldId id="546" r:id="rId48"/>
    <p:sldId id="524" r:id="rId49"/>
    <p:sldId id="532" r:id="rId50"/>
    <p:sldId id="536" r:id="rId51"/>
    <p:sldId id="537" r:id="rId52"/>
    <p:sldId id="538" r:id="rId53"/>
    <p:sldId id="539" r:id="rId54"/>
    <p:sldId id="548" r:id="rId55"/>
    <p:sldId id="547" r:id="rId56"/>
    <p:sldId id="541" r:id="rId57"/>
    <p:sldId id="550" r:id="rId58"/>
    <p:sldId id="339" r:id="rId59"/>
  </p:sldIdLst>
  <p:sldSz cx="9144000" cy="6858000" type="screen4x3"/>
  <p:notesSz cx="6858000" cy="9926638"/>
  <p:defaultTextStyle>
    <a:defPPr>
      <a:defRPr lang="bg-BG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Default Section" id="{CD9CB985-1B3E-4597-973E-7142FB1E418D}">
          <p14:sldIdLst>
            <p14:sldId id="340"/>
            <p14:sldId id="554"/>
            <p14:sldId id="555"/>
            <p14:sldId id="556"/>
            <p14:sldId id="557"/>
            <p14:sldId id="517"/>
            <p14:sldId id="518"/>
            <p14:sldId id="519"/>
            <p14:sldId id="520"/>
            <p14:sldId id="543"/>
            <p14:sldId id="544"/>
            <p14:sldId id="546"/>
            <p14:sldId id="524"/>
            <p14:sldId id="532"/>
            <p14:sldId id="536"/>
            <p14:sldId id="537"/>
            <p14:sldId id="538"/>
            <p14:sldId id="539"/>
            <p14:sldId id="548"/>
            <p14:sldId id="547"/>
            <p14:sldId id="541"/>
            <p14:sldId id="550"/>
            <p14:sldId id="339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orient="horz" pos="3748">
          <p15:clr>
            <a:srgbClr val="A4A3A4"/>
          </p15:clr>
        </p15:guide>
        <p15:guide id="3" orient="horz" pos="935">
          <p15:clr>
            <a:srgbClr val="A4A3A4"/>
          </p15:clr>
        </p15:guide>
        <p15:guide id="4" pos="2880">
          <p15:clr>
            <a:srgbClr val="A4A3A4"/>
          </p15:clr>
        </p15:guide>
        <p15:guide id="5" pos="113">
          <p15:clr>
            <a:srgbClr val="A4A3A4"/>
          </p15:clr>
        </p15:guide>
        <p15:guide id="6" pos="564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E" initials="vp" lastIdx="1" clrIdx="0"/>
  <p:cmAuthor id="1" name="dstankova" initials="D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6600"/>
    <a:srgbClr val="EBD3F1"/>
    <a:srgbClr val="FF99CC"/>
    <a:srgbClr val="B6DF89"/>
    <a:srgbClr val="A6A6A6"/>
    <a:srgbClr val="EEEEEE"/>
    <a:srgbClr val="DDDDDD"/>
    <a:srgbClr val="D3ECF2"/>
    <a:srgbClr val="C4E59F"/>
    <a:srgbClr val="FFE6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0414" autoAdjust="0"/>
    <p:restoredTop sz="95427" autoAdjust="0"/>
  </p:normalViewPr>
  <p:slideViewPr>
    <p:cSldViewPr>
      <p:cViewPr varScale="1">
        <p:scale>
          <a:sx n="74" d="100"/>
          <a:sy n="74" d="100"/>
        </p:scale>
        <p:origin x="-1242" y="-90"/>
      </p:cViewPr>
      <p:guideLst>
        <p:guide orient="horz" pos="2160"/>
        <p:guide orient="horz" pos="3748"/>
        <p:guide orient="horz" pos="935"/>
        <p:guide pos="2880"/>
        <p:guide pos="113"/>
        <p:guide pos="5647"/>
      </p:guideLst>
    </p:cSldViewPr>
  </p:slideViewPr>
  <p:outlineViewPr>
    <p:cViewPr>
      <p:scale>
        <a:sx n="33" d="100"/>
        <a:sy n="33" d="100"/>
      </p:scale>
      <p:origin x="0" y="21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6.xml"/><Relationship Id="rId47" Type="http://schemas.openxmlformats.org/officeDocument/2006/relationships/slide" Target="slides/slide11.xml"/><Relationship Id="rId50" Type="http://schemas.openxmlformats.org/officeDocument/2006/relationships/slide" Target="slides/slide14.xml"/><Relationship Id="rId55" Type="http://schemas.openxmlformats.org/officeDocument/2006/relationships/slide" Target="slides/slide19.xml"/><Relationship Id="rId63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" Target="slides/slide5.xml"/><Relationship Id="rId54" Type="http://schemas.openxmlformats.org/officeDocument/2006/relationships/slide" Target="slides/slide18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1.xml"/><Relationship Id="rId40" Type="http://schemas.openxmlformats.org/officeDocument/2006/relationships/slide" Target="slides/slide4.xml"/><Relationship Id="rId45" Type="http://schemas.openxmlformats.org/officeDocument/2006/relationships/slide" Target="slides/slide9.xml"/><Relationship Id="rId53" Type="http://schemas.openxmlformats.org/officeDocument/2006/relationships/slide" Target="slides/slide17.xml"/><Relationship Id="rId58" Type="http://schemas.openxmlformats.org/officeDocument/2006/relationships/slide" Target="slides/slide22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13.xml"/><Relationship Id="rId57" Type="http://schemas.openxmlformats.org/officeDocument/2006/relationships/slide" Target="slides/slide21.xml"/><Relationship Id="rId61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8.xml"/><Relationship Id="rId52" Type="http://schemas.openxmlformats.org/officeDocument/2006/relationships/slide" Target="slides/slide16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7.xml"/><Relationship Id="rId48" Type="http://schemas.openxmlformats.org/officeDocument/2006/relationships/slide" Target="slides/slide12.xml"/><Relationship Id="rId56" Type="http://schemas.openxmlformats.org/officeDocument/2006/relationships/slide" Target="slides/slide20.xml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" Target="slides/slide2.xml"/><Relationship Id="rId46" Type="http://schemas.openxmlformats.org/officeDocument/2006/relationships/slide" Target="slides/slide10.xml"/><Relationship Id="rId59" Type="http://schemas.openxmlformats.org/officeDocument/2006/relationships/slide" Target="slides/slide2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beilux.eib.org\G_Disk\EIF\EIF-RBD\SME%20Initiative\SMEI%20Bulgaria\Q4%2016%20portfolio%20-%20analysis%2023042016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ILIEV\AppData\Local\Microsoft\Windows\Temporary%20Internet%20Files\Content.Outlook\DMR7YW5F\SMEi%20-%20Bulgaria%20-%20Pivots_3%20(2)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beilux.eib.org\G_Disk\EIF\EIF-RBD\SME%20Initiative\SMEI%20Bulgaria\Q4%2016%20portfolio%20-%20analysis%2023042016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10"/>
  <c:pivotSource>
    <c:name>[Q4 16 portfolio - analysis 23042016.xlsx]Pivots!PivotTable6</c:name>
    <c:fmtId val="-1"/>
  </c:pivotSource>
  <c:chart>
    <c:autoTitleDeleted val="1"/>
    <c:pivotFmts>
      <c:pivotFmt>
        <c:idx val="0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  <c:pivotFmt>
        <c:idx val="6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  <c:pivotFmt>
        <c:idx val="9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0"/>
        <c:marker>
          <c:symbol val="none"/>
        </c:marker>
      </c:pivotFmt>
      <c:pivotFmt>
        <c:idx val="11"/>
        <c:marker>
          <c:symbol val="none"/>
        </c:marker>
      </c:pivotFmt>
      <c:pivotFmt>
        <c:idx val="12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3"/>
        <c:marker>
          <c:symbol val="none"/>
        </c:marker>
      </c:pivotFmt>
      <c:pivotFmt>
        <c:idx val="14"/>
        <c:marker>
          <c:symbol val="none"/>
        </c:marker>
      </c:pivotFmt>
      <c:pivotFmt>
        <c:idx val="15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6"/>
        <c:marker>
          <c:symbol val="none"/>
        </c:marker>
      </c:pivotFmt>
      <c:pivotFmt>
        <c:idx val="17"/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11474222416503561"/>
          <c:y val="0.14088993827163965"/>
          <c:w val="0.71671359022298398"/>
          <c:h val="0.69849773527790138"/>
        </c:manualLayout>
      </c:layout>
      <c:pieChart>
        <c:varyColors val="1"/>
        <c:ser>
          <c:idx val="0"/>
          <c:order val="0"/>
          <c:tx>
            <c:strRef>
              <c:f>Pivots!$B$3</c:f>
              <c:strCache>
                <c:ptCount val="1"/>
                <c:pt idx="0">
                  <c:v>Sum (principal)</c:v>
                </c:pt>
              </c:strCache>
            </c:strRef>
          </c:tx>
          <c:dLbls>
            <c:dLbl>
              <c:idx val="1"/>
              <c:layout>
                <c:manualLayout>
                  <c:x val="-0.19151269934822202"/>
                  <c:y val="-2.7303123175140952E-2"/>
                </c:manualLayout>
              </c:layout>
              <c:spPr/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F2-405C-BB3F-39F4AB3210E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bg-BG"/>
              </a:p>
            </c:txPr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Pivots!$A$4:$A$7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Pivots!$B$4:$B$7</c:f>
              <c:numCache>
                <c:formatCode>_-* #,##0_-;\-* #,##0_-;_-* "-"??_-;_-@_-</c:formatCode>
                <c:ptCount val="3"/>
                <c:pt idx="0">
                  <c:v>1591350.756456</c:v>
                </c:pt>
                <c:pt idx="1">
                  <c:v>1394286.0320210005</c:v>
                </c:pt>
                <c:pt idx="2">
                  <c:v>3950216.17420800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7F2-405C-BB3F-39F4AB3210EF}"/>
            </c:ext>
          </c:extLst>
        </c:ser>
        <c:ser>
          <c:idx val="1"/>
          <c:order val="1"/>
          <c:tx>
            <c:strRef>
              <c:f>Pivots!$C$3</c:f>
              <c:strCache>
                <c:ptCount val="1"/>
                <c:pt idx="0">
                  <c:v>%</c:v>
                </c:pt>
              </c:strCache>
            </c:strRef>
          </c:tx>
          <c:cat>
            <c:strRef>
              <c:f>Pivots!$A$4:$A$7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Pivots!$C$4:$C$7</c:f>
              <c:numCache>
                <c:formatCode>0.0%</c:formatCode>
                <c:ptCount val="3"/>
                <c:pt idx="0">
                  <c:v>0.22943836396438802</c:v>
                </c:pt>
                <c:pt idx="1">
                  <c:v>0.2010258924925718</c:v>
                </c:pt>
                <c:pt idx="2">
                  <c:v>0.569535743543040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7F2-405C-BB3F-39F4AB3210EF}"/>
            </c:ext>
          </c:extLst>
        </c:ser>
        <c:ser>
          <c:idx val="2"/>
          <c:order val="2"/>
          <c:tx>
            <c:strRef>
              <c:f>Pivots!$D$3</c:f>
              <c:strCache>
                <c:ptCount val="1"/>
                <c:pt idx="0">
                  <c:v>Count</c:v>
                </c:pt>
              </c:strCache>
            </c:strRef>
          </c:tx>
          <c:cat>
            <c:strRef>
              <c:f>Pivots!$A$4:$A$7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Pivots!$D$4:$D$7</c:f>
              <c:numCache>
                <c:formatCode>General</c:formatCode>
                <c:ptCount val="3"/>
                <c:pt idx="0">
                  <c:v>7</c:v>
                </c:pt>
                <c:pt idx="1">
                  <c:v>40</c:v>
                </c:pt>
                <c:pt idx="2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7F2-405C-BB3F-39F4AB3210EF}"/>
            </c:ext>
          </c:extLst>
        </c:ser>
        <c:dLbls/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10"/>
  <c:pivotSource>
    <c:name>[SMEi - Bulgaria - Pivots_3 (2).xlsx]Sheet1!PivotTable18</c:name>
    <c:fmtId val="-1"/>
  </c:pivotSource>
  <c:chart>
    <c:autoTitleDeleted val="1"/>
    <c:pivotFmts>
      <c:pivotFmt>
        <c:idx val="0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layout>
            <c:manualLayout>
              <c:x val="0.18424956255468072"/>
              <c:y val="-4.3671259842519683E-2"/>
            </c:manualLayout>
          </c:layout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layout>
            <c:manualLayout>
              <c:x val="-0.12800153105861767"/>
              <c:y val="8.050051035287259E-2"/>
            </c:manualLayout>
          </c:layout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layout>
            <c:manualLayout>
              <c:x val="-0.12800153105861767"/>
              <c:y val="8.050051035287259E-2"/>
            </c:manualLayout>
          </c:layout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layout>
            <c:manualLayout>
              <c:x val="0.18424956255468072"/>
              <c:y val="-4.3671259842519683E-2"/>
            </c:manualLayout>
          </c:layout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layout>
            <c:manualLayout>
              <c:x val="-0.12800153105861767"/>
              <c:y val="8.050051035287259E-2"/>
            </c:manualLayout>
          </c:layout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layout>
            <c:manualLayout>
              <c:x val="0.18424956255468072"/>
              <c:y val="-4.3671259842519683E-2"/>
            </c:manualLayout>
          </c:layout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4263049214179194"/>
          <c:y val="0.14794296689455724"/>
          <c:w val="0.68560055064815884"/>
          <c:h val="0.67540821683112884"/>
        </c:manualLayout>
      </c:layout>
      <c:pieChart>
        <c:varyColors val="1"/>
        <c:ser>
          <c:idx val="0"/>
          <c:order val="0"/>
          <c:tx>
            <c:strRef>
              <c:f>Sheet1!$B$9</c:f>
              <c:strCache>
                <c:ptCount val="1"/>
                <c:pt idx="0">
                  <c:v>Total</c:v>
                </c:pt>
              </c:strCache>
            </c:strRef>
          </c:tx>
          <c:dLbls>
            <c:dLbl>
              <c:idx val="0"/>
              <c:layout>
                <c:manualLayout>
                  <c:x val="-0.29305036136285428"/>
                  <c:y val="0.10890321516136268"/>
                </c:manualLayout>
              </c:layout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58-4A80-9E2F-D3A2BFF369A8}"/>
                </c:ext>
              </c:extLst>
            </c:dLbl>
            <c:dLbl>
              <c:idx val="1"/>
              <c:layout>
                <c:manualLayout>
                  <c:x val="0.17851267637948839"/>
                  <c:y val="-6.2209097653908078E-2"/>
                </c:manualLayout>
              </c:layout>
              <c:spPr/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B58-4A80-9E2F-D3A2BFF36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bg-BG"/>
              </a:p>
            </c:txPr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10:$A$12</c:f>
              <c:strCache>
                <c:ptCount val="2"/>
                <c:pt idx="0">
                  <c:v>Tangible investment</c:v>
                </c:pt>
                <c:pt idx="1">
                  <c:v>Working capital</c:v>
                </c:pt>
              </c:strCache>
            </c:strRef>
          </c:cat>
          <c:val>
            <c:numRef>
              <c:f>Sheet1!$B$10:$B$12</c:f>
              <c:numCache>
                <c:formatCode>General</c:formatCode>
                <c:ptCount val="2"/>
                <c:pt idx="0">
                  <c:v>2652678.5814720001</c:v>
                </c:pt>
                <c:pt idx="1">
                  <c:v>4283174.3812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B58-4A80-9E2F-D3A2BFF369A8}"/>
            </c:ext>
          </c:extLst>
        </c:ser>
        <c:dLbls/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10"/>
  <c:pivotSource>
    <c:name>[Q4 16 portfolio - analysis 23042016.xlsx]Pivots2!PivotTable16</c:name>
    <c:fmtId val="-1"/>
  </c:pivotSource>
  <c:chart>
    <c:autoTitleDeleted val="1"/>
    <c:pivotFmts>
      <c:pivotFmt>
        <c:idx val="0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  <c:dLbl>
          <c:idx val="0"/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showCatName val="1"/>
          <c:showPercent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2.7152136661097781E-2"/>
          <c:y val="1.5366044590567509E-2"/>
          <c:w val="0.96780029597822159"/>
          <c:h val="0.93276286724745749"/>
        </c:manualLayout>
      </c:layout>
      <c:ofPieChart>
        <c:ofPieType val="bar"/>
        <c:varyColors val="1"/>
        <c:ser>
          <c:idx val="0"/>
          <c:order val="0"/>
          <c:tx>
            <c:strRef>
              <c:f>Pivots2!$B$156</c:f>
              <c:strCache>
                <c:ptCount val="1"/>
                <c:pt idx="0">
                  <c:v>Total</c:v>
                </c:pt>
              </c:strCache>
            </c:strRef>
          </c:tx>
          <c:dLbls>
            <c:dLbl>
              <c:idx val="0"/>
              <c:layout/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391-493C-813A-002D4EDE9288}"/>
                </c:ext>
              </c:extLst>
            </c:dLbl>
            <c:dLbl>
              <c:idx val="1"/>
              <c:layout>
                <c:manualLayout>
                  <c:x val="-9.3025101212103667E-2"/>
                  <c:y val="6.5306441477715098E-3"/>
                </c:manualLayout>
              </c:layout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391-493C-813A-002D4EDE9288}"/>
                </c:ext>
              </c:extLst>
            </c:dLbl>
            <c:dLbl>
              <c:idx val="2"/>
              <c:layout>
                <c:manualLayout>
                  <c:x val="-0.10077719297977894"/>
                  <c:y val="-1.306128829554302E-2"/>
                </c:manualLayout>
              </c:layout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391-493C-813A-002D4EDE9288}"/>
                </c:ext>
              </c:extLst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391-493C-813A-002D4EDE9288}"/>
                </c:ext>
              </c:extLst>
            </c:dLbl>
            <c:dLbl>
              <c:idx val="4"/>
              <c:layout>
                <c:manualLayout>
                  <c:x val="-0.10077719297977894"/>
                  <c:y val="0"/>
                </c:manualLayout>
              </c:layout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391-493C-813A-002D4EDE9288}"/>
                </c:ext>
              </c:extLst>
            </c:dLbl>
            <c:dLbl>
              <c:idx val="5"/>
              <c:layout>
                <c:manualLayout>
                  <c:x val="-9.6901147095941276E-2"/>
                  <c:y val="0"/>
                </c:manualLayout>
              </c:layout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391-493C-813A-002D4EDE9288}"/>
                </c:ext>
              </c:extLst>
            </c:dLbl>
            <c:dLbl>
              <c:idx val="6"/>
              <c:layout>
                <c:manualLayout>
                  <c:x val="0.12298693589416866"/>
                  <c:y val="-5.304220030256937E-2"/>
                </c:manualLayout>
              </c:layout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391-493C-813A-002D4EDE9288}"/>
                </c:ext>
              </c:extLst>
            </c:dLbl>
            <c:dLbl>
              <c:idx val="7"/>
              <c:layout>
                <c:manualLayout>
                  <c:x val="2.6689780515086827E-2"/>
                  <c:y val="0.30694027494526094"/>
                </c:manualLayout>
              </c:layout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391-493C-813A-002D4EDE9288}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bg-BG" sz="1000" b="0" i="0" u="none" strike="noStrike" baseline="0" dirty="0" smtClean="0">
                        <a:effectLst/>
                      </a:rPr>
                      <a:t>Други</a:t>
                    </a:r>
                    <a:r>
                      <a:rPr lang="en-US" dirty="0"/>
                      <a:t>
8%</a:t>
                    </a:r>
                  </a:p>
                </c:rich>
              </c:tx>
              <c:showCatName val="1"/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391-493C-813A-002D4EDE92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bg-BG"/>
              </a:p>
            </c:txPr>
            <c:showCatName val="1"/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Pivots2!$A$157:$A$165</c:f>
              <c:strCache>
                <c:ptCount val="8"/>
                <c:pt idx="0">
                  <c:v>ACCOMMODATION AND FOOD SERVICE ACTIVITIES</c:v>
                </c:pt>
                <c:pt idx="1">
                  <c:v>ADMINISTRATIVE AND SUPPORT SERVICE ACTIVITIES</c:v>
                </c:pt>
                <c:pt idx="2">
                  <c:v>CONSTRUCTION</c:v>
                </c:pt>
                <c:pt idx="3">
                  <c:v>MANUFACTURING</c:v>
                </c:pt>
                <c:pt idx="4">
                  <c:v>OTHER SERVICE ACTIVITIES</c:v>
                </c:pt>
                <c:pt idx="5">
                  <c:v>PROFESSIONAL, SCIENTIFIC AND TECHNICAL ACTIVITIES</c:v>
                </c:pt>
                <c:pt idx="6">
                  <c:v>TRANSPORTATION AND STORAGE</c:v>
                </c:pt>
                <c:pt idx="7">
                  <c:v>WHOLESALE AND RETAIL TRADE; REPAIR OF MOTOR VEHICLES AND MOTORCYCLES</c:v>
                </c:pt>
              </c:strCache>
            </c:strRef>
          </c:cat>
          <c:val>
            <c:numRef>
              <c:f>Pivots2!$B$157:$B$165</c:f>
              <c:numCache>
                <c:formatCode>0.00</c:formatCode>
                <c:ptCount val="8"/>
                <c:pt idx="0">
                  <c:v>350000</c:v>
                </c:pt>
                <c:pt idx="1">
                  <c:v>186016.26930799999</c:v>
                </c:pt>
                <c:pt idx="2">
                  <c:v>124141.66875500001</c:v>
                </c:pt>
                <c:pt idx="3">
                  <c:v>1499595.4147329999</c:v>
                </c:pt>
                <c:pt idx="4">
                  <c:v>130677.51287199996</c:v>
                </c:pt>
                <c:pt idx="5">
                  <c:v>51129.188120000006</c:v>
                </c:pt>
                <c:pt idx="6">
                  <c:v>1378307.6494390003</c:v>
                </c:pt>
                <c:pt idx="7">
                  <c:v>3215985.2594579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F391-493C-813A-002D4EDE9288}"/>
            </c:ext>
          </c:extLst>
        </c:ser>
        <c:dLbls/>
        <c:gapWidth val="150"/>
        <c:splitType val="percent"/>
        <c:splitPos val="5"/>
        <c:secondPieSize val="75"/>
        <c:serLines/>
      </c:ofPie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BFC3B4-1350-4F0A-AA49-9B55E7CA1B0A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7254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3852" y="9428164"/>
            <a:ext cx="297254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4A2884-C3FF-456E-B4DE-0484B6221D06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5797803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4" y="0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7738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1" y="4715154"/>
            <a:ext cx="5486400" cy="44669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bg-BG" noProof="0" smtClean="0"/>
              <a:t>Click to edit Master text styles</a:t>
            </a:r>
          </a:p>
          <a:p>
            <a:pPr lvl="1"/>
            <a:r>
              <a:rPr lang="bg-BG" noProof="0" smtClean="0"/>
              <a:t>Second level</a:t>
            </a:r>
          </a:p>
          <a:p>
            <a:pPr lvl="2"/>
            <a:r>
              <a:rPr lang="bg-BG" noProof="0" smtClean="0"/>
              <a:t>Third level</a:t>
            </a:r>
          </a:p>
          <a:p>
            <a:pPr lvl="3"/>
            <a:r>
              <a:rPr lang="bg-BG" noProof="0" smtClean="0"/>
              <a:t>Fourth level</a:t>
            </a:r>
          </a:p>
          <a:p>
            <a:pPr lvl="4"/>
            <a:r>
              <a:rPr lang="bg-BG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4" y="9428583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C512CBB-8246-42B3-BA18-F6EB28FE5AB4}" type="slidenum">
              <a:rPr lang="bg-BG"/>
              <a:pPr>
                <a:defRPr/>
              </a:pPr>
              <a:t>‹#›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xmlns="" val="7531386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93527-8418-4418-887A-53D68217BD7E}" type="slidenum">
              <a:rPr lang="bg-BG" smtClean="0">
                <a:solidFill>
                  <a:prstClr val="black"/>
                </a:solidFill>
              </a:rPr>
              <a:pPr/>
              <a:t>1</a:t>
            </a:fld>
            <a:endParaRPr lang="bg-BG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565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>
                <a:solidFill>
                  <a:prstClr val="black"/>
                </a:solidFill>
              </a:rPr>
              <a:pPr/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08463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bg-BG" dirty="0" smtClean="0"/>
              <a:t>СНЦ "МИГ-Гоце Делчев-Гърмен-Хаджидимово"</a:t>
            </a:r>
          </a:p>
          <a:p>
            <a:r>
              <a:rPr lang="bg-BG" dirty="0" smtClean="0"/>
              <a:t>МИГ "Костенец 2010"</a:t>
            </a:r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512CBB-8246-42B3-BA18-F6EB28FE5AB4}" type="slidenum">
              <a:rPr lang="bg-BG" smtClean="0"/>
              <a:pPr>
                <a:defRPr/>
              </a:pPr>
              <a:t>14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xmlns="" val="3762403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512CBB-8246-42B3-BA18-F6EB28FE5AB4}" type="slidenum">
              <a:rPr lang="bg-BG" smtClean="0"/>
              <a:pPr>
                <a:defRPr/>
              </a:pPr>
              <a:t>16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xmlns="" val="25289468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1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1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1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1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52996964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69967767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5781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318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1676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90517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78803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2543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28431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60033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4882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7844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689867265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2181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8367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6887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89696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755753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342244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5987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34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580094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022309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503392696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3065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534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138584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6528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4435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473264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760025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61497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29243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74552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bg-BG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402271640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68825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4824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1661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18202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2843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79268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935758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8196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4091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96422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864766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7151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4394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136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80694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7200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7472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0412215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59931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233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948919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019516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77788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7477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68398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97397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5200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415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70220519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989121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391602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4035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42686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830290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9710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35462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8915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6920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97091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9108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6826578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044942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97956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25952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49612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98346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99064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5691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29260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6237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137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445048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425917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8288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61249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267181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32452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7355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2819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4302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5355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436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810328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482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8776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05627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27165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130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556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647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49352714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284548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8311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3923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1402164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625711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7495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73777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99042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35805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5061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8178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621006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6748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08544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578764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2711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9671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667188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34600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0157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64753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74944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93832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780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4380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687160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178047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22190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95870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145106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16925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16798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714353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85994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252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676811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72107493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919156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482393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87458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089083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08351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6977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88527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73417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54399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88419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3751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873593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25314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529969644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57154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46803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50680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3810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77738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86016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235613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7899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29371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61206143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7885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443069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586316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960528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78141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454048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96627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55124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73548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402080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9393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Is_The_EIF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619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361538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201724613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2767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28579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3940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114176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222384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3898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916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9601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w_Do_We_Help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5847879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074389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2719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55744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67413213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29586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6760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1493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18908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25791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39556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cro_Enterprises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61426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2386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2442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45809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2444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8056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87700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05533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3634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03825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95978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9930456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Next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1482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5670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3835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1139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30772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5223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79851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93686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0062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86903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70298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8"/>
            <a:ext cx="3456614" cy="451643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0178693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25404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132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099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129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6562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5536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707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6600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52446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1012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7"/>
            <a:ext cx="3456614" cy="220885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59896" y="3909270"/>
            <a:ext cx="3465003" cy="221689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18296179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58305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55470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7650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2815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83586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96715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54718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7282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822481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964870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59896" y="1608137"/>
            <a:ext cx="3465003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68913" y="3148617"/>
            <a:ext cx="3455986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268912" y="4689096"/>
            <a:ext cx="3455987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7315653"/>
      </p:ext>
    </p:extLst>
  </p:cSld>
  <p:clrMapOvr>
    <a:masterClrMapping/>
  </p:clrMapOvr>
  <p:transition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862030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416196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181819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54890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7503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538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114655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68789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86294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06187889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44127" y="1619296"/>
            <a:ext cx="8204585" cy="4510042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4380832"/>
      </p:ext>
    </p:extLst>
  </p:cSld>
  <p:clrMapOvr>
    <a:masterClrMapping/>
  </p:clrMapOvr>
  <p:transition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47428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74545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1376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1963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35300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3452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5135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3258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4760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3323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44500" y="2708920"/>
            <a:ext cx="8304213" cy="3420418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45434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5826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94001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236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3607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8605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65634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3185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8978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4261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93552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6575" y="2706688"/>
            <a:ext cx="8212138" cy="342265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81153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6577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6452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7982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Is_The_EIF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1970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w_Do_We_Help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656805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cro_Enterprises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3396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Next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2294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8"/>
            <a:ext cx="3456614" cy="451643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845162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7"/>
            <a:ext cx="3456614" cy="220885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59896" y="3909270"/>
            <a:ext cx="3465003" cy="221689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193621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59896" y="1608137"/>
            <a:ext cx="3465003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68913" y="3148617"/>
            <a:ext cx="3455986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268912" y="4689096"/>
            <a:ext cx="3455987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413408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44127" y="1619296"/>
            <a:ext cx="8204585" cy="4510042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83602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44500" y="2708920"/>
            <a:ext cx="8304213" cy="3420418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5986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6575" y="2706688"/>
            <a:ext cx="8212138" cy="342265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44672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42540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50539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13990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12037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07357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96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2226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33324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93420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1952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8779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77153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00833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9553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97581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57908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9654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4894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9592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69869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9898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8885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2712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98267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07071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82414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68514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41143926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9991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6616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775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25644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865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9578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76371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85976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9515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72647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60554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13589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4122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997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86140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3156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7027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190655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114123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80723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09227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995800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10858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35430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60933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32847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84709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79339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66934837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20194871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96477698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01029397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4859484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bg-BG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5023652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42618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23034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4815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09159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7592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6513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6416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348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5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50.xml"/><Relationship Id="rId7" Type="http://schemas.openxmlformats.org/officeDocument/2006/relationships/slideLayout" Target="../slideLayouts/slideLayout254.xml"/><Relationship Id="rId12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252.xml"/><Relationship Id="rId10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66.xml"/><Relationship Id="rId12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64.xml"/><Relationship Id="rId10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73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2.xml"/><Relationship Id="rId3" Type="http://schemas.openxmlformats.org/officeDocument/2006/relationships/slideLayout" Target="../slideLayouts/slideLayout297.xml"/><Relationship Id="rId7" Type="http://schemas.openxmlformats.org/officeDocument/2006/relationships/slideLayout" Target="../slideLayouts/slideLayout301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95.xml"/><Relationship Id="rId6" Type="http://schemas.openxmlformats.org/officeDocument/2006/relationships/slideLayout" Target="../slideLayouts/slideLayout300.xml"/><Relationship Id="rId11" Type="http://schemas.openxmlformats.org/officeDocument/2006/relationships/slideLayout" Target="../slideLayouts/slideLayout305.xml"/><Relationship Id="rId5" Type="http://schemas.openxmlformats.org/officeDocument/2006/relationships/slideLayout" Target="../slideLayouts/slideLayout299.xml"/><Relationship Id="rId10" Type="http://schemas.openxmlformats.org/officeDocument/2006/relationships/slideLayout" Target="../slideLayouts/slideLayout304.xml"/><Relationship Id="rId4" Type="http://schemas.openxmlformats.org/officeDocument/2006/relationships/slideLayout" Target="../slideLayouts/slideLayout298.xml"/><Relationship Id="rId9" Type="http://schemas.openxmlformats.org/officeDocument/2006/relationships/slideLayout" Target="../slideLayouts/slideLayout303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3.xml"/><Relationship Id="rId3" Type="http://schemas.openxmlformats.org/officeDocument/2006/relationships/slideLayout" Target="../slideLayouts/slideLayout308.xml"/><Relationship Id="rId7" Type="http://schemas.openxmlformats.org/officeDocument/2006/relationships/slideLayout" Target="../slideLayouts/slideLayout312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306.xml"/><Relationship Id="rId6" Type="http://schemas.openxmlformats.org/officeDocument/2006/relationships/slideLayout" Target="../slideLayouts/slideLayout311.xml"/><Relationship Id="rId11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310.xml"/><Relationship Id="rId10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309.xml"/><Relationship Id="rId9" Type="http://schemas.openxmlformats.org/officeDocument/2006/relationships/slideLayout" Target="../slideLayouts/slideLayout314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4.xml"/><Relationship Id="rId3" Type="http://schemas.openxmlformats.org/officeDocument/2006/relationships/slideLayout" Target="../slideLayouts/slideLayout319.xml"/><Relationship Id="rId7" Type="http://schemas.openxmlformats.org/officeDocument/2006/relationships/slideLayout" Target="../slideLayouts/slideLayout323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318.xml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1.xml"/><Relationship Id="rId10" Type="http://schemas.openxmlformats.org/officeDocument/2006/relationships/slideLayout" Target="../slideLayouts/slideLayout326.xml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5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330.xml"/><Relationship Id="rId7" Type="http://schemas.openxmlformats.org/officeDocument/2006/relationships/slideLayout" Target="../slideLayouts/slideLayout334.xml"/><Relationship Id="rId12" Type="http://schemas.openxmlformats.org/officeDocument/2006/relationships/slideLayout" Target="../slideLayouts/slideLayout339.xml"/><Relationship Id="rId2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328.xml"/><Relationship Id="rId6" Type="http://schemas.openxmlformats.org/officeDocument/2006/relationships/slideLayout" Target="../slideLayouts/slideLayout333.xml"/><Relationship Id="rId11" Type="http://schemas.openxmlformats.org/officeDocument/2006/relationships/slideLayout" Target="../slideLayouts/slideLayout338.xml"/><Relationship Id="rId5" Type="http://schemas.openxmlformats.org/officeDocument/2006/relationships/slideLayout" Target="../slideLayouts/slideLayout332.xml"/><Relationship Id="rId10" Type="http://schemas.openxmlformats.org/officeDocument/2006/relationships/slideLayout" Target="../slideLayouts/slideLayout337.xml"/><Relationship Id="rId4" Type="http://schemas.openxmlformats.org/officeDocument/2006/relationships/slideLayout" Target="../slideLayouts/slideLayout331.xml"/><Relationship Id="rId9" Type="http://schemas.openxmlformats.org/officeDocument/2006/relationships/slideLayout" Target="../slideLayouts/slideLayout3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3" Type="http://schemas.openxmlformats.org/officeDocument/2006/relationships/slideLayout" Target="../slideLayouts/slideLayout342.xml"/><Relationship Id="rId7" Type="http://schemas.openxmlformats.org/officeDocument/2006/relationships/slideLayout" Target="../slideLayouts/slideLayout346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slideLayout" Target="../slideLayouts/slideLayout350.xml"/><Relationship Id="rId5" Type="http://schemas.openxmlformats.org/officeDocument/2006/relationships/slideLayout" Target="../slideLayouts/slideLayout344.xml"/><Relationship Id="rId10" Type="http://schemas.openxmlformats.org/officeDocument/2006/relationships/slideLayout" Target="../slideLayouts/slideLayout349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8.xml"/><Relationship Id="rId13" Type="http://schemas.openxmlformats.org/officeDocument/2006/relationships/slideLayout" Target="../slideLayouts/slideLayout363.xml"/><Relationship Id="rId18" Type="http://schemas.openxmlformats.org/officeDocument/2006/relationships/slideLayout" Target="../slideLayouts/slideLayout368.xml"/><Relationship Id="rId3" Type="http://schemas.openxmlformats.org/officeDocument/2006/relationships/slideLayout" Target="../slideLayouts/slideLayout353.xml"/><Relationship Id="rId21" Type="http://schemas.openxmlformats.org/officeDocument/2006/relationships/slideLayout" Target="../slideLayouts/slideLayout371.xml"/><Relationship Id="rId7" Type="http://schemas.openxmlformats.org/officeDocument/2006/relationships/slideLayout" Target="../slideLayouts/slideLayout357.xml"/><Relationship Id="rId12" Type="http://schemas.openxmlformats.org/officeDocument/2006/relationships/slideLayout" Target="../slideLayouts/slideLayout362.xml"/><Relationship Id="rId17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52.xml"/><Relationship Id="rId16" Type="http://schemas.openxmlformats.org/officeDocument/2006/relationships/slideLayout" Target="../slideLayouts/slideLayout366.xml"/><Relationship Id="rId20" Type="http://schemas.openxmlformats.org/officeDocument/2006/relationships/slideLayout" Target="../slideLayouts/slideLayout370.xml"/><Relationship Id="rId1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6.xml"/><Relationship Id="rId11" Type="http://schemas.openxmlformats.org/officeDocument/2006/relationships/slideLayout" Target="../slideLayouts/slideLayout361.xml"/><Relationship Id="rId5" Type="http://schemas.openxmlformats.org/officeDocument/2006/relationships/slideLayout" Target="../slideLayouts/slideLayout355.xml"/><Relationship Id="rId15" Type="http://schemas.openxmlformats.org/officeDocument/2006/relationships/slideLayout" Target="../slideLayouts/slideLayout365.xml"/><Relationship Id="rId23" Type="http://schemas.openxmlformats.org/officeDocument/2006/relationships/theme" Target="../theme/theme31.xml"/><Relationship Id="rId10" Type="http://schemas.openxmlformats.org/officeDocument/2006/relationships/slideLayout" Target="../slideLayouts/slideLayout360.xml"/><Relationship Id="rId19" Type="http://schemas.openxmlformats.org/officeDocument/2006/relationships/slideLayout" Target="../slideLayouts/slideLayout369.xml"/><Relationship Id="rId4" Type="http://schemas.openxmlformats.org/officeDocument/2006/relationships/slideLayout" Target="../slideLayouts/slideLayout354.xml"/><Relationship Id="rId9" Type="http://schemas.openxmlformats.org/officeDocument/2006/relationships/slideLayout" Target="../slideLayouts/slideLayout359.xml"/><Relationship Id="rId14" Type="http://schemas.openxmlformats.org/officeDocument/2006/relationships/slideLayout" Target="../slideLayouts/slideLayout364.xml"/><Relationship Id="rId22" Type="http://schemas.openxmlformats.org/officeDocument/2006/relationships/slideLayout" Target="../slideLayouts/slideLayout372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slideLayout" Target="../slideLayouts/slideLayout383.xml"/><Relationship Id="rId5" Type="http://schemas.openxmlformats.org/officeDocument/2006/relationships/slideLayout" Target="../slideLayouts/slideLayout377.xml"/><Relationship Id="rId10" Type="http://schemas.openxmlformats.org/officeDocument/2006/relationships/slideLayout" Target="../slideLayouts/slideLayout382.xml"/><Relationship Id="rId4" Type="http://schemas.openxmlformats.org/officeDocument/2006/relationships/slideLayout" Target="../slideLayouts/slideLayout376.xml"/><Relationship Id="rId9" Type="http://schemas.openxmlformats.org/officeDocument/2006/relationships/slideLayout" Target="../slideLayouts/slideLayout381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1.xml"/><Relationship Id="rId3" Type="http://schemas.openxmlformats.org/officeDocument/2006/relationships/slideLayout" Target="../slideLayouts/slideLayout386.xml"/><Relationship Id="rId7" Type="http://schemas.openxmlformats.org/officeDocument/2006/relationships/slideLayout" Target="../slideLayouts/slideLayout390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385.xml"/><Relationship Id="rId1" Type="http://schemas.openxmlformats.org/officeDocument/2006/relationships/slideLayout" Target="../slideLayouts/slideLayout384.xml"/><Relationship Id="rId6" Type="http://schemas.openxmlformats.org/officeDocument/2006/relationships/slideLayout" Target="../slideLayouts/slideLayout389.xml"/><Relationship Id="rId11" Type="http://schemas.openxmlformats.org/officeDocument/2006/relationships/slideLayout" Target="../slideLayouts/slideLayout394.xml"/><Relationship Id="rId5" Type="http://schemas.openxmlformats.org/officeDocument/2006/relationships/slideLayout" Target="../slideLayouts/slideLayout388.xml"/><Relationship Id="rId10" Type="http://schemas.openxmlformats.org/officeDocument/2006/relationships/slideLayout" Target="../slideLayouts/slideLayout393.xml"/><Relationship Id="rId4" Type="http://schemas.openxmlformats.org/officeDocument/2006/relationships/slideLayout" Target="../slideLayouts/slideLayout387.xml"/><Relationship Id="rId9" Type="http://schemas.openxmlformats.org/officeDocument/2006/relationships/slideLayout" Target="../slideLayouts/slideLayout392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2.xml"/><Relationship Id="rId3" Type="http://schemas.openxmlformats.org/officeDocument/2006/relationships/slideLayout" Target="../slideLayouts/slideLayout397.xml"/><Relationship Id="rId7" Type="http://schemas.openxmlformats.org/officeDocument/2006/relationships/slideLayout" Target="../slideLayouts/slideLayout401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396.xml"/><Relationship Id="rId1" Type="http://schemas.openxmlformats.org/officeDocument/2006/relationships/slideLayout" Target="../slideLayouts/slideLayout395.xml"/><Relationship Id="rId6" Type="http://schemas.openxmlformats.org/officeDocument/2006/relationships/slideLayout" Target="../slideLayouts/slideLayout400.xml"/><Relationship Id="rId11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399.xml"/><Relationship Id="rId10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398.xml"/><Relationship Id="rId9" Type="http://schemas.openxmlformats.org/officeDocument/2006/relationships/slideLayout" Target="../slideLayouts/slideLayout403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3.xml"/><Relationship Id="rId3" Type="http://schemas.openxmlformats.org/officeDocument/2006/relationships/slideLayout" Target="../slideLayouts/slideLayout408.xml"/><Relationship Id="rId7" Type="http://schemas.openxmlformats.org/officeDocument/2006/relationships/slideLayout" Target="../slideLayouts/slideLayout412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407.xml"/><Relationship Id="rId1" Type="http://schemas.openxmlformats.org/officeDocument/2006/relationships/slideLayout" Target="../slideLayouts/slideLayout406.xml"/><Relationship Id="rId6" Type="http://schemas.openxmlformats.org/officeDocument/2006/relationships/slideLayout" Target="../slideLayouts/slideLayout411.xml"/><Relationship Id="rId11" Type="http://schemas.openxmlformats.org/officeDocument/2006/relationships/slideLayout" Target="../slideLayouts/slideLayout416.xml"/><Relationship Id="rId5" Type="http://schemas.openxmlformats.org/officeDocument/2006/relationships/slideLayout" Target="../slideLayouts/slideLayout410.xml"/><Relationship Id="rId10" Type="http://schemas.openxmlformats.org/officeDocument/2006/relationships/slideLayout" Target="../slideLayouts/slideLayout415.xml"/><Relationship Id="rId4" Type="http://schemas.openxmlformats.org/officeDocument/2006/relationships/slideLayout" Target="../slideLayouts/slideLayout409.xml"/><Relationship Id="rId9" Type="http://schemas.openxmlformats.org/officeDocument/2006/relationships/slideLayout" Target="../slideLayouts/slideLayout414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4.xml"/><Relationship Id="rId13" Type="http://schemas.openxmlformats.org/officeDocument/2006/relationships/theme" Target="../theme/theme36.xml"/><Relationship Id="rId3" Type="http://schemas.openxmlformats.org/officeDocument/2006/relationships/slideLayout" Target="../slideLayouts/slideLayout419.xml"/><Relationship Id="rId7" Type="http://schemas.openxmlformats.org/officeDocument/2006/relationships/slideLayout" Target="../slideLayouts/slideLayout423.xml"/><Relationship Id="rId12" Type="http://schemas.openxmlformats.org/officeDocument/2006/relationships/slideLayout" Target="../slideLayouts/slideLayout428.xml"/><Relationship Id="rId2" Type="http://schemas.openxmlformats.org/officeDocument/2006/relationships/slideLayout" Target="../slideLayouts/slideLayout418.xml"/><Relationship Id="rId1" Type="http://schemas.openxmlformats.org/officeDocument/2006/relationships/slideLayout" Target="../slideLayouts/slideLayout417.xml"/><Relationship Id="rId6" Type="http://schemas.openxmlformats.org/officeDocument/2006/relationships/slideLayout" Target="../slideLayouts/slideLayout422.xml"/><Relationship Id="rId11" Type="http://schemas.openxmlformats.org/officeDocument/2006/relationships/slideLayout" Target="../slideLayouts/slideLayout427.xml"/><Relationship Id="rId5" Type="http://schemas.openxmlformats.org/officeDocument/2006/relationships/slideLayout" Target="../slideLayouts/slideLayout421.xml"/><Relationship Id="rId10" Type="http://schemas.openxmlformats.org/officeDocument/2006/relationships/slideLayout" Target="../slideLayouts/slideLayout426.xml"/><Relationship Id="rId4" Type="http://schemas.openxmlformats.org/officeDocument/2006/relationships/slideLayout" Target="../slideLayouts/slideLayout420.xml"/><Relationship Id="rId9" Type="http://schemas.openxmlformats.org/officeDocument/2006/relationships/slideLayout" Target="../slideLayouts/slideLayout4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2" tx1="lt1" bg2="dk1" tx2="lt2" accent1="accent1" accent2="accent2" accent3="accent3" accent4="accent4" accent5="accent5" accent6="accent6" hlink="hlink" folHlink="folHlink"/>
  <p:sldLayoutIdLst>
    <p:sldLayoutId id="2147484222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</p:sldLayoutIdLst>
  <p:transition>
    <p:fade/>
  </p:transition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9pPr>
    </p:titleStyle>
    <p:bodyStyle>
      <a:lvl1pPr marL="396875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6"/>
        </a:buBlip>
        <a:defRPr sz="3200">
          <a:solidFill>
            <a:schemeClr val="bg1"/>
          </a:solidFill>
          <a:latin typeface="+mn-lt"/>
          <a:ea typeface="+mn-ea"/>
          <a:cs typeface="+mn-cs"/>
        </a:defRPr>
      </a:lvl1pPr>
      <a:lvl2pPr marL="914400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800">
          <a:solidFill>
            <a:schemeClr val="bg1"/>
          </a:solidFill>
          <a:latin typeface="+mn-lt"/>
        </a:defRPr>
      </a:lvl2pPr>
      <a:lvl3pPr marL="1258888" indent="-344488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3pPr>
      <a:lvl4pPr marL="1604963" indent="-3460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4pPr>
      <a:lvl5pPr marL="1941513" indent="-336550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5pPr>
      <a:lvl6pPr marL="23987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6pPr>
      <a:lvl7pPr marL="28559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7pPr>
      <a:lvl8pPr marL="33131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8pPr>
      <a:lvl9pPr marL="37703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1523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4323" r:id="rId2"/>
    <p:sldLayoutId id="2147484324" r:id="rId3"/>
    <p:sldLayoutId id="2147484325" r:id="rId4"/>
    <p:sldLayoutId id="2147484326" r:id="rId5"/>
    <p:sldLayoutId id="2147484327" r:id="rId6"/>
    <p:sldLayoutId id="2147484328" r:id="rId7"/>
    <p:sldLayoutId id="2147484329" r:id="rId8"/>
    <p:sldLayoutId id="2147484330" r:id="rId9"/>
    <p:sldLayoutId id="2147484331" r:id="rId10"/>
    <p:sldLayoutId id="2147484332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8131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  <p:sldLayoutId id="2147484343" r:id="rId10"/>
    <p:sldLayoutId id="2147484344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7929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47" r:id="rId2"/>
    <p:sldLayoutId id="2147484348" r:id="rId3"/>
    <p:sldLayoutId id="2147484349" r:id="rId4"/>
    <p:sldLayoutId id="2147484350" r:id="rId5"/>
    <p:sldLayoutId id="2147484351" r:id="rId6"/>
    <p:sldLayoutId id="2147484352" r:id="rId7"/>
    <p:sldLayoutId id="2147484353" r:id="rId8"/>
    <p:sldLayoutId id="2147484354" r:id="rId9"/>
    <p:sldLayoutId id="2147484355" r:id="rId10"/>
    <p:sldLayoutId id="214748435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843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  <p:sldLayoutId id="214748436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0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373" r:id="rId3"/>
    <p:sldLayoutId id="2147484374" r:id="rId4"/>
    <p:sldLayoutId id="2147484375" r:id="rId5"/>
    <p:sldLayoutId id="2147484376" r:id="rId6"/>
    <p:sldLayoutId id="2147484377" r:id="rId7"/>
    <p:sldLayoutId id="2147484378" r:id="rId8"/>
    <p:sldLayoutId id="2147484379" r:id="rId9"/>
    <p:sldLayoutId id="2147484380" r:id="rId10"/>
    <p:sldLayoutId id="214748438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95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  <p:sldLayoutId id="2147484385" r:id="rId3"/>
    <p:sldLayoutId id="2147484386" r:id="rId4"/>
    <p:sldLayoutId id="2147484387" r:id="rId5"/>
    <p:sldLayoutId id="2147484388" r:id="rId6"/>
    <p:sldLayoutId id="2147484389" r:id="rId7"/>
    <p:sldLayoutId id="2147484390" r:id="rId8"/>
    <p:sldLayoutId id="2147484391" r:id="rId9"/>
    <p:sldLayoutId id="2147484392" r:id="rId10"/>
    <p:sldLayoutId id="2147484393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537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  <p:sldLayoutId id="2147484405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531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12" r:id="rId6"/>
    <p:sldLayoutId id="2147484413" r:id="rId7"/>
    <p:sldLayoutId id="2147484414" r:id="rId8"/>
    <p:sldLayoutId id="2147484415" r:id="rId9"/>
    <p:sldLayoutId id="2147484416" r:id="rId10"/>
    <p:sldLayoutId id="2147484417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918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29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8168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  <p:sldLayoutId id="2147484438" r:id="rId8"/>
    <p:sldLayoutId id="2147484439" r:id="rId9"/>
    <p:sldLayoutId id="2147484440" r:id="rId10"/>
    <p:sldLayoutId id="214748444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6" r:id="rId3"/>
    <p:sldLayoutId id="2147484227" r:id="rId4"/>
    <p:sldLayoutId id="2147484228" r:id="rId5"/>
    <p:sldLayoutId id="2147484229" r:id="rId6"/>
    <p:sldLayoutId id="2147484230" r:id="rId7"/>
    <p:sldLayoutId id="2147484231" r:id="rId8"/>
    <p:sldLayoutId id="2147484232" r:id="rId9"/>
    <p:sldLayoutId id="2147484233" r:id="rId10"/>
    <p:sldLayoutId id="2147484234" r:id="rId11"/>
    <p:sldLayoutId id="2147484235" r:id="rId12"/>
    <p:sldLayoutId id="2147484752" r:id="rId13"/>
    <p:sldLayoutId id="2147484753" r:id="rId14"/>
    <p:sldLayoutId id="2147484754" r:id="rId15"/>
    <p:sldLayoutId id="2147484755" r:id="rId16"/>
    <p:sldLayoutId id="2147484757" r:id="rId17"/>
    <p:sldLayoutId id="2147484760" r:id="rId18"/>
    <p:sldLayoutId id="2147484761" r:id="rId19"/>
    <p:sldLayoutId id="2147484762" r:id="rId20"/>
    <p:sldLayoutId id="2147484763" r:id="rId21"/>
    <p:sldLayoutId id="2147484764" r:id="rId22"/>
    <p:sldLayoutId id="2147484765" r:id="rId2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48598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7683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6" r:id="rId1"/>
    <p:sldLayoutId id="2147484517" r:id="rId2"/>
    <p:sldLayoutId id="2147484518" r:id="rId3"/>
    <p:sldLayoutId id="2147484519" r:id="rId4"/>
    <p:sldLayoutId id="2147484520" r:id="rId5"/>
    <p:sldLayoutId id="2147484521" r:id="rId6"/>
    <p:sldLayoutId id="2147484522" r:id="rId7"/>
    <p:sldLayoutId id="2147484523" r:id="rId8"/>
    <p:sldLayoutId id="2147484524" r:id="rId9"/>
    <p:sldLayoutId id="2147484525" r:id="rId10"/>
    <p:sldLayoutId id="214748452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6779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8" r:id="rId1"/>
    <p:sldLayoutId id="2147484529" r:id="rId2"/>
    <p:sldLayoutId id="2147484530" r:id="rId3"/>
    <p:sldLayoutId id="2147484531" r:id="rId4"/>
    <p:sldLayoutId id="2147484532" r:id="rId5"/>
    <p:sldLayoutId id="2147484533" r:id="rId6"/>
    <p:sldLayoutId id="2147484534" r:id="rId7"/>
    <p:sldLayoutId id="2147484535" r:id="rId8"/>
    <p:sldLayoutId id="2147484536" r:id="rId9"/>
    <p:sldLayoutId id="2147484537" r:id="rId10"/>
    <p:sldLayoutId id="2147484538" r:id="rId11"/>
    <p:sldLayoutId id="214748453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4922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1" r:id="rId1"/>
    <p:sldLayoutId id="2147484542" r:id="rId2"/>
    <p:sldLayoutId id="2147484543" r:id="rId3"/>
    <p:sldLayoutId id="2147484544" r:id="rId4"/>
    <p:sldLayoutId id="2147484545" r:id="rId5"/>
    <p:sldLayoutId id="2147484546" r:id="rId6"/>
    <p:sldLayoutId id="2147484547" r:id="rId7"/>
    <p:sldLayoutId id="2147484548" r:id="rId8"/>
    <p:sldLayoutId id="2147484549" r:id="rId9"/>
    <p:sldLayoutId id="2147484550" r:id="rId10"/>
    <p:sldLayoutId id="2147484551" r:id="rId11"/>
    <p:sldLayoutId id="2147484552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4242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8" r:id="rId1"/>
    <p:sldLayoutId id="2147484579" r:id="rId2"/>
    <p:sldLayoutId id="2147484580" r:id="rId3"/>
    <p:sldLayoutId id="2147484581" r:id="rId4"/>
    <p:sldLayoutId id="2147484582" r:id="rId5"/>
    <p:sldLayoutId id="2147484583" r:id="rId6"/>
    <p:sldLayoutId id="2147484584" r:id="rId7"/>
    <p:sldLayoutId id="2147484585" r:id="rId8"/>
    <p:sldLayoutId id="2147484586" r:id="rId9"/>
    <p:sldLayoutId id="2147484587" r:id="rId10"/>
    <p:sldLayoutId id="2147484588" r:id="rId11"/>
    <p:sldLayoutId id="214748458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0110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1" r:id="rId1"/>
    <p:sldLayoutId id="2147484592" r:id="rId2"/>
    <p:sldLayoutId id="2147484593" r:id="rId3"/>
    <p:sldLayoutId id="2147484594" r:id="rId4"/>
    <p:sldLayoutId id="2147484595" r:id="rId5"/>
    <p:sldLayoutId id="2147484596" r:id="rId6"/>
    <p:sldLayoutId id="2147484597" r:id="rId7"/>
    <p:sldLayoutId id="2147484598" r:id="rId8"/>
    <p:sldLayoutId id="2147484599" r:id="rId9"/>
    <p:sldLayoutId id="2147484600" r:id="rId10"/>
    <p:sldLayoutId id="214748460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3981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3" r:id="rId1"/>
    <p:sldLayoutId id="2147484604" r:id="rId2"/>
    <p:sldLayoutId id="2147484605" r:id="rId3"/>
    <p:sldLayoutId id="2147484606" r:id="rId4"/>
    <p:sldLayoutId id="2147484607" r:id="rId5"/>
    <p:sldLayoutId id="2147484608" r:id="rId6"/>
    <p:sldLayoutId id="2147484609" r:id="rId7"/>
    <p:sldLayoutId id="2147484610" r:id="rId8"/>
    <p:sldLayoutId id="2147484611" r:id="rId9"/>
    <p:sldLayoutId id="2147484612" r:id="rId10"/>
    <p:sldLayoutId id="214748461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2363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5" r:id="rId1"/>
    <p:sldLayoutId id="2147484616" r:id="rId2"/>
    <p:sldLayoutId id="2147484617" r:id="rId3"/>
    <p:sldLayoutId id="2147484618" r:id="rId4"/>
    <p:sldLayoutId id="2147484619" r:id="rId5"/>
    <p:sldLayoutId id="2147484620" r:id="rId6"/>
    <p:sldLayoutId id="2147484621" r:id="rId7"/>
    <p:sldLayoutId id="2147484622" r:id="rId8"/>
    <p:sldLayoutId id="2147484623" r:id="rId9"/>
    <p:sldLayoutId id="2147484624" r:id="rId10"/>
    <p:sldLayoutId id="214748462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1458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7" r:id="rId1"/>
    <p:sldLayoutId id="2147484628" r:id="rId2"/>
    <p:sldLayoutId id="2147484629" r:id="rId3"/>
    <p:sldLayoutId id="2147484630" r:id="rId4"/>
    <p:sldLayoutId id="2147484631" r:id="rId5"/>
    <p:sldLayoutId id="2147484632" r:id="rId6"/>
    <p:sldLayoutId id="2147484633" r:id="rId7"/>
    <p:sldLayoutId id="2147484634" r:id="rId8"/>
    <p:sldLayoutId id="2147484635" r:id="rId9"/>
    <p:sldLayoutId id="2147484636" r:id="rId10"/>
    <p:sldLayoutId id="214748463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21697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41" r:id="rId3"/>
    <p:sldLayoutId id="2147484642" r:id="rId4"/>
    <p:sldLayoutId id="2147484643" r:id="rId5"/>
    <p:sldLayoutId id="2147484644" r:id="rId6"/>
    <p:sldLayoutId id="2147484645" r:id="rId7"/>
    <p:sldLayoutId id="2147484646" r:id="rId8"/>
    <p:sldLayoutId id="2147484647" r:id="rId9"/>
    <p:sldLayoutId id="2147484648" r:id="rId10"/>
    <p:sldLayoutId id="2147484649" r:id="rId11"/>
    <p:sldLayoutId id="2147484650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3761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2" r:id="rId1"/>
    <p:sldLayoutId id="2147484653" r:id="rId2"/>
    <p:sldLayoutId id="2147484654" r:id="rId3"/>
    <p:sldLayoutId id="2147484655" r:id="rId4"/>
    <p:sldLayoutId id="2147484656" r:id="rId5"/>
    <p:sldLayoutId id="2147484657" r:id="rId6"/>
    <p:sldLayoutId id="2147484658" r:id="rId7"/>
    <p:sldLayoutId id="2147484659" r:id="rId8"/>
    <p:sldLayoutId id="2147484660" r:id="rId9"/>
    <p:sldLayoutId id="2147484661" r:id="rId10"/>
    <p:sldLayoutId id="214748466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1652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0" r:id="rId7"/>
    <p:sldLayoutId id="2147484671" r:id="rId8"/>
    <p:sldLayoutId id="2147484672" r:id="rId9"/>
    <p:sldLayoutId id="2147484673" r:id="rId10"/>
    <p:sldLayoutId id="2147484674" r:id="rId11"/>
    <p:sldLayoutId id="2147484737" r:id="rId12"/>
    <p:sldLayoutId id="2147484738" r:id="rId13"/>
    <p:sldLayoutId id="2147484739" r:id="rId14"/>
    <p:sldLayoutId id="2147484740" r:id="rId15"/>
    <p:sldLayoutId id="2147484742" r:id="rId16"/>
    <p:sldLayoutId id="2147484745" r:id="rId17"/>
    <p:sldLayoutId id="2147484746" r:id="rId18"/>
    <p:sldLayoutId id="2147484747" r:id="rId19"/>
    <p:sldLayoutId id="2147484748" r:id="rId20"/>
    <p:sldLayoutId id="2147484749" r:id="rId21"/>
    <p:sldLayoutId id="2147484750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22391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6" r:id="rId1"/>
    <p:sldLayoutId id="2147484677" r:id="rId2"/>
    <p:sldLayoutId id="2147484678" r:id="rId3"/>
    <p:sldLayoutId id="2147484679" r:id="rId4"/>
    <p:sldLayoutId id="2147484680" r:id="rId5"/>
    <p:sldLayoutId id="2147484681" r:id="rId6"/>
    <p:sldLayoutId id="2147484682" r:id="rId7"/>
    <p:sldLayoutId id="2147484683" r:id="rId8"/>
    <p:sldLayoutId id="2147484684" r:id="rId9"/>
    <p:sldLayoutId id="2147484685" r:id="rId10"/>
    <p:sldLayoutId id="214748468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29587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8" r:id="rId1"/>
    <p:sldLayoutId id="2147484689" r:id="rId2"/>
    <p:sldLayoutId id="2147484690" r:id="rId3"/>
    <p:sldLayoutId id="2147484691" r:id="rId4"/>
    <p:sldLayoutId id="2147484692" r:id="rId5"/>
    <p:sldLayoutId id="2147484693" r:id="rId6"/>
    <p:sldLayoutId id="2147484694" r:id="rId7"/>
    <p:sldLayoutId id="2147484695" r:id="rId8"/>
    <p:sldLayoutId id="2147484696" r:id="rId9"/>
    <p:sldLayoutId id="2147484697" r:id="rId10"/>
    <p:sldLayoutId id="214748469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7717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0" r:id="rId1"/>
    <p:sldLayoutId id="2147484701" r:id="rId2"/>
    <p:sldLayoutId id="2147484702" r:id="rId3"/>
    <p:sldLayoutId id="2147484703" r:id="rId4"/>
    <p:sldLayoutId id="2147484704" r:id="rId5"/>
    <p:sldLayoutId id="2147484705" r:id="rId6"/>
    <p:sldLayoutId id="2147484706" r:id="rId7"/>
    <p:sldLayoutId id="2147484707" r:id="rId8"/>
    <p:sldLayoutId id="2147484708" r:id="rId9"/>
    <p:sldLayoutId id="2147484709" r:id="rId10"/>
    <p:sldLayoutId id="214748471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94251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2" r:id="rId1"/>
    <p:sldLayoutId id="2147484713" r:id="rId2"/>
    <p:sldLayoutId id="2147484714" r:id="rId3"/>
    <p:sldLayoutId id="2147484715" r:id="rId4"/>
    <p:sldLayoutId id="2147484716" r:id="rId5"/>
    <p:sldLayoutId id="2147484717" r:id="rId6"/>
    <p:sldLayoutId id="2147484718" r:id="rId7"/>
    <p:sldLayoutId id="2147484719" r:id="rId8"/>
    <p:sldLayoutId id="2147484720" r:id="rId9"/>
    <p:sldLayoutId id="2147484721" r:id="rId10"/>
    <p:sldLayoutId id="214748472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4540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4" r:id="rId1"/>
    <p:sldLayoutId id="2147484725" r:id="rId2"/>
    <p:sldLayoutId id="2147484726" r:id="rId3"/>
    <p:sldLayoutId id="2147484727" r:id="rId4"/>
    <p:sldLayoutId id="2147484728" r:id="rId5"/>
    <p:sldLayoutId id="2147484729" r:id="rId6"/>
    <p:sldLayoutId id="2147484730" r:id="rId7"/>
    <p:sldLayoutId id="2147484731" r:id="rId8"/>
    <p:sldLayoutId id="2147484732" r:id="rId9"/>
    <p:sldLayoutId id="2147484733" r:id="rId10"/>
    <p:sldLayoutId id="2147484734" r:id="rId11"/>
    <p:sldLayoutId id="2147484735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27.6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6" r:id="rId6"/>
    <p:sldLayoutId id="2147484267" r:id="rId7"/>
    <p:sldLayoutId id="2147484268" r:id="rId8"/>
    <p:sldLayoutId id="2147484269" r:id="rId9"/>
    <p:sldLayoutId id="2147484270" r:id="rId10"/>
    <p:sldLayoutId id="214748427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  <p:sldLayoutId id="2147484294" r:id="rId9"/>
    <p:sldLayoutId id="2147484295" r:id="rId10"/>
    <p:sldLayoutId id="2147484296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556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8" r:id="rId1"/>
    <p:sldLayoutId id="2147484299" r:id="rId2"/>
    <p:sldLayoutId id="2147484300" r:id="rId3"/>
    <p:sldLayoutId id="2147484301" r:id="rId4"/>
    <p:sldLayoutId id="2147484302" r:id="rId5"/>
    <p:sldLayoutId id="2147484303" r:id="rId6"/>
    <p:sldLayoutId id="2147484304" r:id="rId7"/>
    <p:sldLayoutId id="2147484305" r:id="rId8"/>
    <p:sldLayoutId id="2147484306" r:id="rId9"/>
    <p:sldLayoutId id="2147484307" r:id="rId10"/>
    <p:sldLayoutId id="2147484308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7.6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2923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7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4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2.png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35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37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374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7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0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://www.opic.bg/" TargetMode="External"/><Relationship Id="rId1" Type="http://schemas.openxmlformats.org/officeDocument/2006/relationships/slideLayout" Target="../slideLayouts/slideLayout92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916832"/>
            <a:ext cx="9144000" cy="1512168"/>
          </a:xfrm>
        </p:spPr>
        <p:txBody>
          <a:bodyPr/>
          <a:lstStyle/>
          <a:p>
            <a:pPr marL="182880" indent="0" algn="ctr">
              <a:buNone/>
            </a:pPr>
            <a:r>
              <a:rPr lang="bg-BG" sz="3200" dirty="0" smtClean="0">
                <a:solidFill>
                  <a:srgbClr val="002060"/>
                </a:solidFill>
              </a:rPr>
              <a:t>Напредък в изпълнението на </a:t>
            </a:r>
            <a:r>
              <a:rPr lang="en-US" sz="3200" dirty="0" smtClean="0">
                <a:solidFill>
                  <a:srgbClr val="002060"/>
                </a:solidFill>
              </a:rPr>
              <a:t/>
            </a:r>
            <a:br>
              <a:rPr lang="en-US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ОП “Иновации и конкурентоспособност“  </a:t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2014-2020</a:t>
            </a:r>
            <a:endParaRPr lang="bg-BG" sz="3200" dirty="0">
              <a:solidFill>
                <a:srgbClr val="00206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3573859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819350" y="18005"/>
            <a:ext cx="8075413" cy="1972851"/>
            <a:chOff x="773899" y="18005"/>
            <a:chExt cx="8075413" cy="1972851"/>
          </a:xfrm>
        </p:grpSpPr>
        <p:grpSp>
          <p:nvGrpSpPr>
            <p:cNvPr id="4" name="Group 3"/>
            <p:cNvGrpSpPr/>
            <p:nvPr/>
          </p:nvGrpSpPr>
          <p:grpSpPr>
            <a:xfrm>
              <a:off x="773899" y="195811"/>
              <a:ext cx="4893029" cy="1502945"/>
              <a:chOff x="773899" y="195811"/>
              <a:chExt cx="4893029" cy="1502945"/>
            </a:xfrm>
          </p:grpSpPr>
          <p:pic>
            <p:nvPicPr>
              <p:cNvPr id="11" name="Picture 10" descr="OPIC1BG_COLOR_DOWN.fw.pn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3768968" y="316217"/>
                <a:ext cx="1897960" cy="1376425"/>
              </a:xfrm>
              <a:prstGeom prst="rect">
                <a:avLst/>
              </a:prstGeom>
            </p:spPr>
          </p:pic>
          <p:pic>
            <p:nvPicPr>
              <p:cNvPr id="13" name="Picture 12" descr="Description: textEU+LOGO.fw.png"/>
              <p:cNvPicPr/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899" y="195811"/>
                <a:ext cx="1512168" cy="150294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4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 xmlns="">
                    <a14:imgLayer r:embed="rId7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8005"/>
              <a:ext cx="2189080" cy="197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Rectangle 9"/>
          <p:cNvSpPr/>
          <p:nvPr/>
        </p:nvSpPr>
        <p:spPr>
          <a:xfrm>
            <a:off x="395534" y="3876587"/>
            <a:ext cx="8568953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Съвместно</a:t>
            </a:r>
            <a:r>
              <a:rPr lang="ru-RU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заседание на РСР и РКК на </a:t>
            </a:r>
            <a:r>
              <a:rPr lang="ru-RU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ЮЗР</a:t>
            </a:r>
            <a:endParaRPr lang="ru-RU" sz="28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/>
            <a:endParaRPr lang="ru-RU" sz="12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/>
            <a:r>
              <a:rPr lang="bg-BG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Правец, 27-28</a:t>
            </a:r>
            <a:r>
              <a:rPr lang="ru-RU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юни</a:t>
            </a:r>
            <a:r>
              <a:rPr lang="ru-RU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2017 </a:t>
            </a:r>
            <a:r>
              <a:rPr lang="ru-RU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. 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bg-BG" sz="20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bg-BG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Д „Европейски фондове за конкурентоспособност“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Министерство на икономиката </a:t>
            </a:r>
          </a:p>
        </p:txBody>
      </p:sp>
    </p:spTree>
    <p:extLst>
      <p:ext uri="{BB962C8B-B14F-4D97-AF65-F5344CB8AC3E}">
        <p14:creationId xmlns:p14="http://schemas.microsoft.com/office/powerpoint/2010/main" xmlns="" val="248878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0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7389440" cy="3474720"/>
          </a:xfrm>
        </p:spPr>
        <p:txBody>
          <a:bodyPr>
            <a:normAutofit/>
          </a:bodyPr>
          <a:lstStyle/>
          <a:p>
            <a:pPr marL="45720" indent="0">
              <a:buNone/>
            </a:pPr>
            <a:endParaRPr lang="bg-BG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 algn="ctr">
              <a:buNone/>
            </a:pP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</a:t>
            </a:r>
            <a:r>
              <a:rPr lang="bg-BG" sz="3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 изпълнението на </a:t>
            </a:r>
            <a:endParaRPr lang="bg-BG" sz="32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pPr marL="45720" indent="0" algn="ctr">
              <a:buNone/>
            </a:pPr>
            <a:r>
              <a:rPr lang="ru-RU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 </a:t>
            </a:r>
            <a:r>
              <a:rPr lang="ru-RU" sz="3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„Инициатива за МСП“ </a:t>
            </a:r>
            <a:endParaRPr lang="ru-RU" sz="32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pPr marL="45720" indent="0" algn="ctr">
              <a:buNone/>
            </a:pPr>
            <a:r>
              <a:rPr lang="ru-RU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</a:t>
            </a: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32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7578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389987" y="332656"/>
            <a:ext cx="8379802" cy="1200329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fontAlgn="auto">
              <a:spcAft>
                <a:spcPts val="0"/>
              </a:spcAft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bg-BG" sz="24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в </a:t>
            </a:r>
            <a:r>
              <a:rPr lang="bg-BG" sz="24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 на ОП ИМСП</a:t>
            </a:r>
            <a:endParaRPr lang="en-US" sz="2400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pPr algn="ctr" fontAlgn="auto">
              <a:spcAft>
                <a:spcPts val="0"/>
              </a:spcAft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bg-BG" sz="24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татистически данни за мандата към </a:t>
            </a:r>
            <a:r>
              <a:rPr lang="en-US" sz="24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31</a:t>
            </a:r>
            <a:r>
              <a:rPr lang="bg-BG" sz="24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.12.</a:t>
            </a:r>
            <a:r>
              <a:rPr lang="en-US" sz="24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6 </a:t>
            </a:r>
            <a:r>
              <a:rPr lang="bg-BG" sz="24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</a:t>
            </a:r>
            <a:r>
              <a:rPr lang="en-US" sz="24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US" sz="24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en-GB" sz="2400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168107" y="4437112"/>
            <a:ext cx="8601681" cy="1885485"/>
            <a:chOff x="272068" y="1460563"/>
            <a:chExt cx="8601681" cy="1885485"/>
          </a:xfrm>
        </p:grpSpPr>
        <p:sp>
          <p:nvSpPr>
            <p:cNvPr id="5" name="Rectangle 4"/>
            <p:cNvSpPr/>
            <p:nvPr/>
          </p:nvSpPr>
          <p:spPr>
            <a:xfrm>
              <a:off x="272068" y="1738960"/>
              <a:ext cx="8432275" cy="3218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7596335" y="2153171"/>
              <a:ext cx="12266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bg-BG" sz="1000" dirty="0" smtClean="0">
                  <a:solidFill>
                    <a:prstClr val="black"/>
                  </a:solidFill>
                  <a:latin typeface="Calibri"/>
                </a:rPr>
                <a:t>Цел</a:t>
              </a:r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: </a:t>
              </a:r>
              <a:r>
                <a:rPr lang="bg-BG" sz="1000" dirty="0" smtClean="0">
                  <a:solidFill>
                    <a:prstClr val="black"/>
                  </a:solidFill>
                  <a:latin typeface="Calibri"/>
                </a:rPr>
                <a:t>60</a:t>
              </a:r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8</a:t>
              </a:r>
              <a:r>
                <a:rPr lang="bg-BG" sz="1000" dirty="0" smtClean="0">
                  <a:solidFill>
                    <a:prstClr val="black"/>
                  </a:solidFill>
                  <a:latin typeface="Calibri"/>
                </a:rPr>
                <a:t> млн. евро</a:t>
              </a:r>
              <a:endParaRPr lang="en-GB" sz="1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Line Callout 2 6"/>
            <p:cNvSpPr/>
            <p:nvPr/>
          </p:nvSpPr>
          <p:spPr>
            <a:xfrm>
              <a:off x="544630" y="2276282"/>
              <a:ext cx="1291066" cy="614124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51325"/>
                <a:gd name="adj6" fmla="val -16266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 smtClean="0">
                  <a:solidFill>
                    <a:prstClr val="black"/>
                  </a:solidFill>
                </a:rPr>
                <a:t>2</a:t>
              </a:r>
              <a:r>
                <a:rPr lang="bg-BG" sz="900" dirty="0" smtClean="0">
                  <a:solidFill>
                    <a:prstClr val="black"/>
                  </a:solidFill>
                </a:rPr>
                <a:t>-ри</a:t>
              </a:r>
              <a:r>
                <a:rPr lang="en-US" sz="900" baseline="30000" dirty="0" smtClean="0">
                  <a:solidFill>
                    <a:prstClr val="black"/>
                  </a:solidFill>
                </a:rPr>
                <a:t> </a:t>
              </a:r>
              <a:r>
                <a:rPr lang="bg-BG" sz="900" dirty="0" smtClean="0">
                  <a:solidFill>
                    <a:prstClr val="black"/>
                  </a:solidFill>
                </a:rPr>
                <a:t>март</a:t>
              </a:r>
              <a:r>
                <a:rPr lang="en-US" sz="900" dirty="0" smtClean="0">
                  <a:solidFill>
                    <a:prstClr val="black"/>
                  </a:solidFill>
                </a:rPr>
                <a:t> 2016: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bg-BG" sz="900" dirty="0" smtClean="0">
                  <a:solidFill>
                    <a:prstClr val="black"/>
                  </a:solidFill>
                </a:rPr>
                <a:t>Подписване на споразумението за финансиране</a:t>
              </a:r>
              <a:endParaRPr lang="en-GB" sz="900" dirty="0">
                <a:solidFill>
                  <a:prstClr val="black"/>
                </a:solidFill>
              </a:endParaRPr>
            </a:p>
          </p:txBody>
        </p:sp>
        <p:sp>
          <p:nvSpPr>
            <p:cNvPr id="8" name="Line Callout 2 7"/>
            <p:cNvSpPr/>
            <p:nvPr/>
          </p:nvSpPr>
          <p:spPr>
            <a:xfrm>
              <a:off x="2591512" y="2468675"/>
              <a:ext cx="1704412" cy="450445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52621"/>
                <a:gd name="adj6" fmla="val -16861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bg-BG" sz="1000" dirty="0" smtClean="0">
                  <a:solidFill>
                    <a:prstClr val="black"/>
                  </a:solidFill>
                </a:rPr>
                <a:t>1-ви дек</a:t>
              </a:r>
              <a:r>
                <a:rPr lang="en-US" sz="1000" dirty="0" smtClean="0">
                  <a:solidFill>
                    <a:prstClr val="black"/>
                  </a:solidFill>
                </a:rPr>
                <a:t>, 2016: 4 </a:t>
              </a:r>
              <a:r>
                <a:rPr lang="bg-BG" sz="1000" dirty="0" smtClean="0">
                  <a:solidFill>
                    <a:prstClr val="black"/>
                  </a:solidFill>
                </a:rPr>
                <a:t>банки започват отдаването</a:t>
              </a:r>
              <a:endParaRPr lang="en-US" sz="10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9" name="Line Callout 2 8"/>
            <p:cNvSpPr/>
            <p:nvPr/>
          </p:nvSpPr>
          <p:spPr>
            <a:xfrm>
              <a:off x="2466280" y="2994455"/>
              <a:ext cx="2249994" cy="351593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356295"/>
                <a:gd name="adj6" fmla="val -16331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 smtClean="0">
                  <a:solidFill>
                    <a:prstClr val="black"/>
                  </a:solidFill>
                </a:rPr>
                <a:t> </a:t>
              </a:r>
              <a:r>
                <a:rPr lang="bg-BG" sz="1000" dirty="0">
                  <a:solidFill>
                    <a:prstClr val="black"/>
                  </a:solidFill>
                </a:rPr>
                <a:t>ноем</a:t>
              </a:r>
              <a:r>
                <a:rPr lang="en-US" sz="1000" dirty="0">
                  <a:solidFill>
                    <a:prstClr val="black"/>
                  </a:solidFill>
                </a:rPr>
                <a:t>/ </a:t>
              </a:r>
              <a:r>
                <a:rPr lang="bg-BG" sz="1000" dirty="0">
                  <a:solidFill>
                    <a:prstClr val="black"/>
                  </a:solidFill>
                </a:rPr>
                <a:t>дек</a:t>
              </a:r>
              <a:r>
                <a:rPr lang="en-US" sz="1000" dirty="0">
                  <a:solidFill>
                    <a:prstClr val="black"/>
                  </a:solidFill>
                </a:rPr>
                <a:t> </a:t>
              </a:r>
              <a:r>
                <a:rPr lang="en-US" sz="1000" dirty="0" smtClean="0">
                  <a:solidFill>
                    <a:prstClr val="black"/>
                  </a:solidFill>
                </a:rPr>
                <a:t>2016</a:t>
              </a:r>
              <a:r>
                <a:rPr lang="bg-BG" sz="1000" dirty="0" smtClean="0">
                  <a:solidFill>
                    <a:prstClr val="black"/>
                  </a:solidFill>
                </a:rPr>
                <a:t> - Подписване </a:t>
              </a:r>
              <a:r>
                <a:rPr lang="bg-BG" sz="1000" dirty="0">
                  <a:solidFill>
                    <a:prstClr val="black"/>
                  </a:solidFill>
                </a:rPr>
                <a:t>на споразумения с фин. посредници</a:t>
              </a:r>
              <a:endParaRPr lang="en-US" sz="1000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339484" y="1780960"/>
              <a:ext cx="504056" cy="23788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rm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dirty="0" smtClean="0">
                  <a:solidFill>
                    <a:prstClr val="black"/>
                  </a:solidFill>
                </a:rPr>
                <a:t>1.1%</a:t>
              </a:r>
              <a:endParaRPr lang="en-GB" sz="1000" b="1" dirty="0">
                <a:solidFill>
                  <a:prstClr val="black"/>
                </a:solidFill>
              </a:endParaRP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364629" y="1631972"/>
              <a:ext cx="2478911" cy="0"/>
            </a:xfrm>
            <a:prstGeom prst="straightConnector1">
              <a:avLst/>
            </a:prstGeom>
            <a:ln w="15875">
              <a:solidFill>
                <a:schemeClr val="tx2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1517134" y="1540285"/>
              <a:ext cx="318562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 2016 </a:t>
              </a:r>
              <a:endParaRPr lang="en-GB" sz="1000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 flipV="1">
              <a:off x="2843540" y="1631972"/>
              <a:ext cx="3240628" cy="2"/>
            </a:xfrm>
            <a:prstGeom prst="straightConnector1">
              <a:avLst/>
            </a:prstGeom>
            <a:ln w="15875">
              <a:solidFill>
                <a:schemeClr val="tx2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4067944" y="1555028"/>
              <a:ext cx="395910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 2017</a:t>
              </a:r>
              <a:endParaRPr lang="en-GB" sz="1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" name="Diagonal Stripe 25"/>
            <p:cNvSpPr/>
            <p:nvPr/>
          </p:nvSpPr>
          <p:spPr>
            <a:xfrm>
              <a:off x="7164287" y="1471429"/>
              <a:ext cx="432048" cy="903705"/>
            </a:xfrm>
            <a:prstGeom prst="diagStripe">
              <a:avLst>
                <a:gd name="adj" fmla="val 76728"/>
              </a:avLst>
            </a:prstGeom>
            <a:solidFill>
              <a:schemeClr val="bg1"/>
            </a:solidFill>
            <a:ln w="3175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black"/>
                </a:solidFill>
              </a:endParaRPr>
            </a:p>
          </p:txBody>
        </p:sp>
        <p:cxnSp>
          <p:nvCxnSpPr>
            <p:cNvPr id="33" name="Straight Arrow Connector 32"/>
            <p:cNvCxnSpPr/>
            <p:nvPr/>
          </p:nvCxnSpPr>
          <p:spPr>
            <a:xfrm flipH="1">
              <a:off x="6084168" y="1631973"/>
              <a:ext cx="1296143" cy="0"/>
            </a:xfrm>
            <a:prstGeom prst="straightConnector1">
              <a:avLst/>
            </a:prstGeom>
            <a:ln w="158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/>
            <p:cNvSpPr txBox="1"/>
            <p:nvPr/>
          </p:nvSpPr>
          <p:spPr>
            <a:xfrm>
              <a:off x="6836758" y="1541328"/>
              <a:ext cx="288032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2018</a:t>
              </a:r>
              <a:endParaRPr lang="en-GB" sz="1000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38" name="Straight Arrow Connector 37"/>
            <p:cNvCxnSpPr/>
            <p:nvPr/>
          </p:nvCxnSpPr>
          <p:spPr>
            <a:xfrm flipV="1">
              <a:off x="7540583" y="1631972"/>
              <a:ext cx="1215220" cy="2"/>
            </a:xfrm>
            <a:prstGeom prst="straightConnector1">
              <a:avLst/>
            </a:prstGeom>
            <a:ln w="158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8004177" y="1540285"/>
              <a:ext cx="288032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 smtClean="0">
                  <a:solidFill>
                    <a:prstClr val="black"/>
                  </a:solidFill>
                  <a:latin typeface="Calibri"/>
                </a:rPr>
                <a:t>2019</a:t>
              </a:r>
              <a:endParaRPr lang="en-GB" sz="10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869870" y="1773643"/>
              <a:ext cx="774410" cy="237888"/>
            </a:xfrm>
            <a:prstGeom prst="rect">
              <a:avLst/>
            </a:prstGeom>
            <a:pattFill prst="ltUpDiag">
              <a:fgClr>
                <a:srgbClr val="92D05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rm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dirty="0" smtClean="0">
                  <a:solidFill>
                    <a:prstClr val="black"/>
                  </a:solidFill>
                </a:rPr>
                <a:t>9.61%</a:t>
              </a:r>
              <a:endParaRPr lang="en-GB" sz="1000" b="1" dirty="0">
                <a:solidFill>
                  <a:prstClr val="black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459735" y="1468629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 smtClean="0">
                  <a:solidFill>
                    <a:prstClr val="black"/>
                  </a:solidFill>
                  <a:latin typeface="Calibri"/>
                </a:rPr>
                <a:t>31</a:t>
              </a:r>
              <a:r>
                <a:rPr lang="bg-BG" sz="800" dirty="0" smtClean="0">
                  <a:solidFill>
                    <a:prstClr val="black"/>
                  </a:solidFill>
                  <a:latin typeface="Calibri"/>
                </a:rPr>
                <a:t>-ви</a:t>
              </a:r>
              <a:r>
                <a:rPr lang="en-US" sz="800" dirty="0" smtClean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bg-BG" sz="800" dirty="0" smtClean="0">
                  <a:solidFill>
                    <a:prstClr val="black"/>
                  </a:solidFill>
                  <a:latin typeface="Calibri"/>
                </a:rPr>
                <a:t>Дек</a:t>
              </a:r>
              <a:endParaRPr lang="en-GB" sz="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369693" y="1468628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 smtClean="0">
                  <a:solidFill>
                    <a:prstClr val="black"/>
                  </a:solidFill>
                  <a:latin typeface="Calibri"/>
                </a:rPr>
                <a:t>31</a:t>
              </a:r>
              <a:r>
                <a:rPr lang="bg-BG" sz="800" dirty="0" smtClean="0">
                  <a:solidFill>
                    <a:prstClr val="black"/>
                  </a:solidFill>
                  <a:latin typeface="Calibri"/>
                </a:rPr>
                <a:t>-ви</a:t>
              </a:r>
              <a:r>
                <a:rPr lang="en-US" sz="800" dirty="0" smtClean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bg-BG" sz="800" dirty="0" smtClean="0">
                  <a:solidFill>
                    <a:prstClr val="black"/>
                  </a:solidFill>
                  <a:latin typeface="Calibri"/>
                </a:rPr>
                <a:t>Дек</a:t>
              </a:r>
              <a:endParaRPr lang="en-GB" sz="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163793" y="1468627"/>
              <a:ext cx="57606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 smtClean="0">
                  <a:solidFill>
                    <a:prstClr val="black"/>
                  </a:solidFill>
                  <a:latin typeface="Calibri"/>
                </a:rPr>
                <a:t>30</a:t>
              </a:r>
              <a:r>
                <a:rPr lang="bg-BG" sz="800" dirty="0" smtClean="0">
                  <a:solidFill>
                    <a:prstClr val="black"/>
                  </a:solidFill>
                  <a:latin typeface="Calibri"/>
                </a:rPr>
                <a:t>-ти</a:t>
              </a:r>
              <a:r>
                <a:rPr lang="en-US" sz="800" dirty="0" smtClean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bg-BG" sz="800" dirty="0" smtClean="0">
                  <a:solidFill>
                    <a:prstClr val="black"/>
                  </a:solidFill>
                  <a:latin typeface="Calibri"/>
                </a:rPr>
                <a:t>Април</a:t>
              </a:r>
              <a:endParaRPr lang="en-GB" sz="800" dirty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49" name="Straight Connector 48"/>
            <p:cNvCxnSpPr/>
            <p:nvPr/>
          </p:nvCxnSpPr>
          <p:spPr>
            <a:xfrm flipV="1">
              <a:off x="3644280" y="1460563"/>
              <a:ext cx="0" cy="60028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90"/>
          <p:cNvGrpSpPr/>
          <p:nvPr/>
        </p:nvGrpSpPr>
        <p:grpSpPr>
          <a:xfrm>
            <a:off x="-38492" y="1700808"/>
            <a:ext cx="2863280" cy="1761026"/>
            <a:chOff x="4788022" y="4250980"/>
            <a:chExt cx="2863280" cy="1761026"/>
          </a:xfrm>
        </p:grpSpPr>
        <p:sp>
          <p:nvSpPr>
            <p:cNvPr id="90" name="Block Arc 89"/>
            <p:cNvSpPr/>
            <p:nvPr/>
          </p:nvSpPr>
          <p:spPr>
            <a:xfrm rot="5400000">
              <a:off x="4335987" y="4703015"/>
              <a:ext cx="1761026" cy="856955"/>
            </a:xfrm>
            <a:prstGeom prst="blockArc">
              <a:avLst>
                <a:gd name="adj1" fmla="val 10816396"/>
                <a:gd name="adj2" fmla="val 2709"/>
                <a:gd name="adj3" fmla="val 41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black"/>
                </a:solidFill>
              </a:endParaRPr>
            </a:p>
          </p:txBody>
        </p:sp>
        <p:grpSp>
          <p:nvGrpSpPr>
            <p:cNvPr id="83" name="Group 82"/>
            <p:cNvGrpSpPr/>
            <p:nvPr/>
          </p:nvGrpSpPr>
          <p:grpSpPr>
            <a:xfrm>
              <a:off x="5292080" y="4326214"/>
              <a:ext cx="2359222" cy="324000"/>
              <a:chOff x="5665883" y="4550149"/>
              <a:chExt cx="2359222" cy="324000"/>
            </a:xfrm>
          </p:grpSpPr>
          <p:grpSp>
            <p:nvGrpSpPr>
              <p:cNvPr id="68" name="Group 67"/>
              <p:cNvGrpSpPr/>
              <p:nvPr/>
            </p:nvGrpSpPr>
            <p:grpSpPr>
              <a:xfrm>
                <a:off x="5936443" y="4599601"/>
                <a:ext cx="2088662" cy="225097"/>
                <a:chOff x="175349" y="112476"/>
                <a:chExt cx="2088662" cy="225097"/>
              </a:xfrm>
            </p:grpSpPr>
            <p:sp>
              <p:nvSpPr>
                <p:cNvPr id="69" name="Rectangle 68"/>
                <p:cNvSpPr/>
                <p:nvPr/>
              </p:nvSpPr>
              <p:spPr>
                <a:xfrm>
                  <a:off x="175349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2">
                  <a:schemeClr val="accent2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0" name="Rectangle 69"/>
                <p:cNvSpPr/>
                <p:nvPr/>
              </p:nvSpPr>
              <p:spPr>
                <a:xfrm>
                  <a:off x="175349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78671" tIns="25400" rIns="25400" bIns="25400" numCol="1" spcCol="1270" anchor="ctr" anchorCtr="0">
                  <a:noAutofit/>
                </a:bodyPr>
                <a:lstStyle/>
                <a:p>
                  <a:pPr defTabSz="444500" fontAlgn="auto">
                    <a:lnSpc>
                      <a:spcPct val="90000"/>
                    </a:lnSpc>
                    <a:spcAft>
                      <a:spcPct val="35000"/>
                    </a:spcAft>
                  </a:pPr>
                  <a:r>
                    <a:rPr lang="bg-BG" sz="1000" dirty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Отдадени към</a:t>
                  </a:r>
                  <a:r>
                    <a:rPr lang="en-US" sz="1000" dirty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 31</a:t>
                  </a:r>
                  <a:r>
                    <a:rPr lang="bg-BG" sz="1000" dirty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.12.2016</a:t>
                  </a:r>
                  <a:endParaRPr lang="en-GB" sz="1000" dirty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endParaRPr>
                </a:p>
              </p:txBody>
            </p:sp>
          </p:grpSp>
          <p:sp>
            <p:nvSpPr>
              <p:cNvPr id="63" name="Oval 62"/>
              <p:cNvSpPr/>
              <p:nvPr/>
            </p:nvSpPr>
            <p:spPr>
              <a:xfrm>
                <a:off x="5665883" y="4550149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dirty="0" smtClean="0">
                    <a:solidFill>
                      <a:prstClr val="black"/>
                    </a:solidFill>
                  </a:rPr>
                  <a:t>6.9m</a:t>
                </a:r>
                <a:endParaRPr lang="en-GB" sz="1000" b="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5292080" y="5688005"/>
              <a:ext cx="2359222" cy="324000"/>
              <a:chOff x="5683023" y="5942632"/>
              <a:chExt cx="2359222" cy="324000"/>
            </a:xfrm>
          </p:grpSpPr>
          <p:sp>
            <p:nvSpPr>
              <p:cNvPr id="82" name="Rectangle 81"/>
              <p:cNvSpPr/>
              <p:nvPr/>
            </p:nvSpPr>
            <p:spPr>
              <a:xfrm>
                <a:off x="5978298" y="5992084"/>
                <a:ext cx="206394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defTabSz="444500" fontAlgn="auto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bg-BG" sz="1000" dirty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Средно претеглена </a:t>
                </a:r>
                <a:r>
                  <a:rPr lang="bg-BG" sz="10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лихва</a:t>
                </a:r>
                <a:r>
                  <a:rPr lang="en-US" sz="1000" baseline="300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2</a:t>
                </a:r>
                <a:endParaRPr lang="en-GB" sz="1000" baseline="300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67" name="Oval 66"/>
              <p:cNvSpPr/>
              <p:nvPr/>
            </p:nvSpPr>
            <p:spPr>
              <a:xfrm>
                <a:off x="5683023" y="5942632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b="1" dirty="0" smtClean="0">
                    <a:solidFill>
                      <a:prstClr val="black"/>
                    </a:solidFill>
                  </a:rPr>
                  <a:t>3.4%</a:t>
                </a:r>
                <a:endParaRPr lang="en-GB" sz="900" b="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5442991" y="5240278"/>
              <a:ext cx="2208311" cy="324000"/>
              <a:chOff x="5665883" y="5597783"/>
              <a:chExt cx="2208311" cy="324000"/>
            </a:xfrm>
          </p:grpSpPr>
          <p:sp>
            <p:nvSpPr>
              <p:cNvPr id="79" name="Rectangle 78"/>
              <p:cNvSpPr/>
              <p:nvPr/>
            </p:nvSpPr>
            <p:spPr>
              <a:xfrm>
                <a:off x="5950507" y="5647235"/>
                <a:ext cx="192368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defTabSz="444500" fontAlgn="auto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bg-BG" sz="1000" dirty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Ниво на </a:t>
                </a:r>
                <a:r>
                  <a:rPr lang="bg-BG" sz="10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обезпечение</a:t>
                </a:r>
                <a:r>
                  <a:rPr lang="en-US" sz="1000" baseline="300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1</a:t>
                </a:r>
                <a:endParaRPr lang="en-GB" sz="1000" baseline="300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66" name="Oval 65"/>
              <p:cNvSpPr/>
              <p:nvPr/>
            </p:nvSpPr>
            <p:spPr>
              <a:xfrm>
                <a:off x="5665883" y="5597783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dirty="0" smtClean="0">
                    <a:solidFill>
                      <a:prstClr val="black"/>
                    </a:solidFill>
                  </a:rPr>
                  <a:t>25%</a:t>
                </a:r>
                <a:endParaRPr lang="en-GB" sz="1000" b="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5433640" y="4775247"/>
              <a:ext cx="2217662" cy="324000"/>
              <a:chOff x="5685553" y="4907099"/>
              <a:chExt cx="2217662" cy="324000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5978298" y="4956551"/>
                <a:ext cx="192491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defTabSz="444500" fontAlgn="auto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bg-BG" sz="1000" dirty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Подкрепени МСП</a:t>
                </a:r>
                <a:endParaRPr lang="en-GB" sz="10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65" name="Oval 64"/>
              <p:cNvSpPr/>
              <p:nvPr/>
            </p:nvSpPr>
            <p:spPr>
              <a:xfrm>
                <a:off x="5685553" y="4907099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dirty="0" smtClean="0">
                    <a:solidFill>
                      <a:prstClr val="black"/>
                    </a:solidFill>
                  </a:rPr>
                  <a:t>86</a:t>
                </a:r>
                <a:endParaRPr lang="en-GB" sz="1000" b="1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93" name="TextBox 92"/>
          <p:cNvSpPr txBox="1"/>
          <p:nvPr/>
        </p:nvSpPr>
        <p:spPr>
          <a:xfrm>
            <a:off x="168107" y="6309320"/>
            <a:ext cx="60600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aseline="30000" dirty="0" smtClean="0">
                <a:solidFill>
                  <a:prstClr val="black"/>
                </a:solidFill>
                <a:latin typeface="Calibri"/>
              </a:rPr>
              <a:t>1</a:t>
            </a:r>
            <a:r>
              <a:rPr lang="bg-BG" sz="800" baseline="3000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bg-BG" sz="800" i="1" dirty="0" smtClean="0">
                <a:solidFill>
                  <a:prstClr val="black"/>
                </a:solidFill>
                <a:latin typeface="Calibri"/>
              </a:rPr>
              <a:t>Не всички банки отчитат ниво на обезпечение за </a:t>
            </a:r>
            <a:r>
              <a:rPr lang="en-US" sz="800" i="1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bg-BG" sz="800" i="1" dirty="0" smtClean="0">
                <a:solidFill>
                  <a:prstClr val="black"/>
                </a:solidFill>
                <a:latin typeface="Calibri"/>
              </a:rPr>
              <a:t>първото тримесечие на </a:t>
            </a:r>
            <a:r>
              <a:rPr lang="en-US" sz="800" i="1" dirty="0" smtClean="0">
                <a:solidFill>
                  <a:prstClr val="black"/>
                </a:solidFill>
                <a:latin typeface="Calibri"/>
              </a:rPr>
              <a:t>2017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aseline="30000" dirty="0" smtClean="0">
                <a:solidFill>
                  <a:prstClr val="black"/>
                </a:solidFill>
                <a:latin typeface="Calibri"/>
              </a:rPr>
              <a:t>2</a:t>
            </a:r>
            <a:r>
              <a:rPr lang="bg-BG" sz="800" i="1" dirty="0" smtClean="0">
                <a:solidFill>
                  <a:prstClr val="black"/>
                </a:solidFill>
                <a:latin typeface="Calibri"/>
              </a:rPr>
              <a:t>Стойността на главницата е използвана за калкулация на средно претеглената стойност на лихвата</a:t>
            </a:r>
            <a:endParaRPr lang="en-US" sz="800" i="1" dirty="0" smtClean="0">
              <a:solidFill>
                <a:prstClr val="black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baseline="30000" dirty="0" smtClean="0">
                <a:solidFill>
                  <a:prstClr val="black"/>
                </a:solidFill>
                <a:latin typeface="Calibri"/>
              </a:rPr>
              <a:t>3</a:t>
            </a:r>
            <a:r>
              <a:rPr lang="bg-BG" sz="800" i="1" dirty="0" smtClean="0">
                <a:solidFill>
                  <a:prstClr val="black"/>
                </a:solidFill>
                <a:latin typeface="Calibri"/>
              </a:rPr>
              <a:t>БНБ данни</a:t>
            </a:r>
            <a:r>
              <a:rPr lang="en-US" sz="800" i="1" dirty="0" smtClean="0">
                <a:solidFill>
                  <a:prstClr val="black"/>
                </a:solidFill>
                <a:latin typeface="Calibri"/>
              </a:rPr>
              <a:t>, </a:t>
            </a:r>
            <a:r>
              <a:rPr lang="bg-BG" sz="800" i="1" dirty="0" smtClean="0">
                <a:solidFill>
                  <a:prstClr val="black"/>
                </a:solidFill>
                <a:latin typeface="Calibri"/>
              </a:rPr>
              <a:t>Февруари</a:t>
            </a:r>
            <a:r>
              <a:rPr lang="en-US" sz="800" i="1" dirty="0" smtClean="0">
                <a:solidFill>
                  <a:prstClr val="black"/>
                </a:solidFill>
                <a:latin typeface="Calibri"/>
              </a:rPr>
              <a:t> 2017, </a:t>
            </a:r>
            <a:r>
              <a:rPr lang="ru-RU" sz="800" i="1" dirty="0">
                <a:solidFill>
                  <a:prstClr val="black"/>
                </a:solidFill>
                <a:latin typeface="Calibri"/>
              </a:rPr>
              <a:t>Лихвени проценти и обеми на нов бизнес по заеми за нефинансови </a:t>
            </a:r>
            <a:r>
              <a:rPr lang="ru-RU" sz="800" i="1" dirty="0" smtClean="0">
                <a:solidFill>
                  <a:prstClr val="black"/>
                </a:solidFill>
                <a:latin typeface="Calibri"/>
              </a:rPr>
              <a:t>предприятия</a:t>
            </a:r>
            <a:endParaRPr lang="en-GB" sz="800" i="1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3340387" y="1470393"/>
            <a:ext cx="1609707" cy="1509364"/>
            <a:chOff x="6963738" y="1759641"/>
            <a:chExt cx="1894494" cy="1795648"/>
          </a:xfrm>
        </p:grpSpPr>
        <p:graphicFrame>
          <p:nvGraphicFramePr>
            <p:cNvPr id="95" name="Chart 9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xmlns="" val="993887768"/>
                </p:ext>
              </p:extLst>
            </p:nvPr>
          </p:nvGraphicFramePr>
          <p:xfrm>
            <a:off x="6963738" y="1776042"/>
            <a:ext cx="1734026" cy="17792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96" name="TextBox 95"/>
            <p:cNvSpPr txBox="1"/>
            <p:nvPr/>
          </p:nvSpPr>
          <p:spPr>
            <a:xfrm>
              <a:off x="7173314" y="2433798"/>
              <a:ext cx="564471" cy="2563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bg-BG" sz="800" dirty="0" smtClean="0">
                  <a:solidFill>
                    <a:prstClr val="black"/>
                  </a:solidFill>
                  <a:latin typeface="Calibri"/>
                </a:rPr>
                <a:t>Малки</a:t>
              </a:r>
              <a:endParaRPr lang="en-GB" sz="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7856600" y="2026258"/>
              <a:ext cx="604091" cy="2563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bg-BG" sz="800" dirty="0" smtClean="0">
                  <a:solidFill>
                    <a:prstClr val="black"/>
                  </a:solidFill>
                  <a:latin typeface="Calibri"/>
                </a:rPr>
                <a:t>Средни</a:t>
              </a:r>
              <a:endParaRPr lang="en-GB" sz="8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7947863" y="2690106"/>
              <a:ext cx="572018" cy="2563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bg-BG" sz="800" dirty="0" smtClean="0">
                  <a:solidFill>
                    <a:prstClr val="white"/>
                  </a:solidFill>
                  <a:latin typeface="Calibri"/>
                </a:rPr>
                <a:t>Микро</a:t>
              </a:r>
              <a:endParaRPr lang="en-GB" sz="8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7095766" y="1759641"/>
              <a:ext cx="1762466" cy="292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bg-BG" sz="1000" b="1" dirty="0" smtClean="0">
                  <a:solidFill>
                    <a:prstClr val="black"/>
                  </a:solidFill>
                  <a:latin typeface="Calibri"/>
                </a:rPr>
                <a:t>Портфейл по </a:t>
              </a:r>
              <a:r>
                <a:rPr lang="bg-BG" sz="1000" b="1" dirty="0">
                  <a:solidFill>
                    <a:prstClr val="black"/>
                  </a:solidFill>
                  <a:latin typeface="Calibri"/>
                </a:rPr>
                <a:t>категория</a:t>
              </a:r>
              <a:endParaRPr lang="en-GB" sz="1000" b="1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643811" y="4203846"/>
            <a:ext cx="8258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200" i="1" dirty="0">
                <a:solidFill>
                  <a:prstClr val="black"/>
                </a:solidFill>
                <a:latin typeface="Calibri"/>
              </a:rPr>
              <a:t>Напредък</a:t>
            </a:r>
            <a:endParaRPr lang="en-GB" sz="1200" i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598864" y="1423807"/>
            <a:ext cx="8099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200" i="1" dirty="0">
                <a:solidFill>
                  <a:prstClr val="black"/>
                </a:solidFill>
                <a:latin typeface="Calibri"/>
              </a:rPr>
              <a:t>Акценти</a:t>
            </a:r>
            <a:endParaRPr lang="en-GB" sz="1200" i="1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3281042" y="2861825"/>
            <a:ext cx="1883277" cy="1726742"/>
            <a:chOff x="5440214" y="2441353"/>
            <a:chExt cx="1883277" cy="1726742"/>
          </a:xfrm>
        </p:grpSpPr>
        <p:grpSp>
          <p:nvGrpSpPr>
            <p:cNvPr id="11" name="Group 10"/>
            <p:cNvGrpSpPr/>
            <p:nvPr/>
          </p:nvGrpSpPr>
          <p:grpSpPr>
            <a:xfrm>
              <a:off x="5440214" y="2441353"/>
              <a:ext cx="1779086" cy="1553795"/>
              <a:chOff x="4181249" y="2619163"/>
              <a:chExt cx="1616604" cy="1447848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4181249" y="2661955"/>
                <a:ext cx="1616604" cy="1405056"/>
                <a:chOff x="3768528" y="2836976"/>
                <a:chExt cx="1616604" cy="1405056"/>
              </a:xfrm>
            </p:grpSpPr>
            <p:graphicFrame>
              <p:nvGraphicFramePr>
                <p:cNvPr id="50" name="Chart 49"/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:p14="http://schemas.microsoft.com/office/powerpoint/2010/main" xmlns="" val="3383230185"/>
                    </p:ext>
                  </p:extLst>
                </p:nvPr>
              </p:nvGraphicFramePr>
              <p:xfrm>
                <a:off x="3768528" y="2836976"/>
                <a:ext cx="1358938" cy="140505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51" name="TextBox 50"/>
                <p:cNvSpPr txBox="1"/>
                <p:nvPr/>
              </p:nvSpPr>
              <p:spPr>
                <a:xfrm>
                  <a:off x="4439505" y="3134475"/>
                  <a:ext cx="945627" cy="31546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dirty="0">
                      <a:solidFill>
                        <a:prstClr val="black"/>
                      </a:solidFill>
                      <a:latin typeface="Calibri"/>
                    </a:rPr>
                    <a:t>Инвестиции в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dirty="0">
                      <a:solidFill>
                        <a:prstClr val="black"/>
                      </a:solidFill>
                      <a:latin typeface="Calibri"/>
                    </a:rPr>
                    <a:t>материални активи</a:t>
                  </a:r>
                  <a:endParaRPr lang="en-GB" sz="80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52" name="TextBox 51"/>
                <p:cNvSpPr txBox="1"/>
                <p:nvPr/>
              </p:nvSpPr>
              <p:spPr>
                <a:xfrm>
                  <a:off x="3968847" y="3301349"/>
                  <a:ext cx="580019" cy="31546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dirty="0">
                      <a:solidFill>
                        <a:prstClr val="white"/>
                      </a:solidFill>
                      <a:latin typeface="Calibri"/>
                    </a:rPr>
                    <a:t>Оборотен </a:t>
                  </a: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dirty="0">
                      <a:solidFill>
                        <a:prstClr val="white"/>
                      </a:solidFill>
                      <a:latin typeface="Calibri"/>
                    </a:rPr>
                    <a:t>капитал</a:t>
                  </a:r>
                  <a:endParaRPr lang="en-US" sz="80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54" name="TextBox 53"/>
              <p:cNvSpPr txBox="1"/>
              <p:nvPr/>
            </p:nvSpPr>
            <p:spPr>
              <a:xfrm>
                <a:off x="4269183" y="2619163"/>
                <a:ext cx="1515158" cy="2294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bg-BG" sz="1000" b="1" dirty="0" smtClean="0">
                    <a:solidFill>
                      <a:prstClr val="black"/>
                    </a:solidFill>
                    <a:latin typeface="Calibri"/>
                  </a:rPr>
                  <a:t>Портфейл по </a:t>
                </a:r>
                <a:r>
                  <a:rPr lang="bg-BG" sz="1000" b="1" dirty="0">
                    <a:solidFill>
                      <a:prstClr val="black"/>
                    </a:solidFill>
                    <a:latin typeface="Calibri"/>
                  </a:rPr>
                  <a:t>цел на заема</a:t>
                </a:r>
                <a:endParaRPr lang="en-GB" sz="1000" b="1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64" name="TextBox 63"/>
            <p:cNvSpPr txBox="1"/>
            <p:nvPr/>
          </p:nvSpPr>
          <p:spPr>
            <a:xfrm>
              <a:off x="5446054" y="3706430"/>
              <a:ext cx="187743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bg-BG" sz="800" i="1" dirty="0" smtClean="0">
                  <a:solidFill>
                    <a:prstClr val="black"/>
                  </a:solidFill>
                  <a:latin typeface="Calibri"/>
                </a:rPr>
                <a:t>Бележка</a:t>
              </a:r>
              <a:r>
                <a:rPr lang="en-US" sz="800" i="1" dirty="0" smtClean="0">
                  <a:solidFill>
                    <a:prstClr val="black"/>
                  </a:solidFill>
                  <a:latin typeface="Calibri"/>
                </a:rPr>
                <a:t>: </a:t>
              </a:r>
              <a:r>
                <a:rPr lang="bg-BG" sz="800" i="1" dirty="0">
                  <a:solidFill>
                    <a:prstClr val="black"/>
                  </a:solidFill>
                  <a:latin typeface="Calibri"/>
                </a:rPr>
                <a:t>Въз основа на стойността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bg-BG" sz="800" i="1" dirty="0">
                  <a:solidFill>
                    <a:prstClr val="black"/>
                  </a:solidFill>
                  <a:latin typeface="Calibri"/>
                </a:rPr>
                <a:t>на главницата</a:t>
              </a:r>
              <a:endParaRPr lang="en-GB" sz="800" i="1" dirty="0">
                <a:solidFill>
                  <a:prstClr val="black"/>
                </a:solidFill>
                <a:latin typeface="Calibri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800" i="1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74" name="Rectangle 73"/>
          <p:cNvSpPr/>
          <p:nvPr/>
        </p:nvSpPr>
        <p:spPr>
          <a:xfrm>
            <a:off x="760840" y="3564782"/>
            <a:ext cx="2063947" cy="274548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8671" tIns="25400" rIns="25400" bIns="25400" numCol="1" spcCol="1270" anchor="ctr" anchorCtr="0">
            <a:noAutofit/>
          </a:bodyPr>
          <a:lstStyle/>
          <a:p>
            <a:pPr defTabSz="444500" fontAlgn="auto">
              <a:lnSpc>
                <a:spcPct val="90000"/>
              </a:lnSpc>
              <a:spcAft>
                <a:spcPct val="35000"/>
              </a:spcAft>
            </a:pPr>
            <a:r>
              <a:rPr lang="bg-BG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Пазарна лихва за заеми  в лв. до 1 млн. евро с падеж </a:t>
            </a:r>
            <a:r>
              <a:rPr lang="en-US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&gt;1</a:t>
            </a:r>
            <a:r>
              <a:rPr lang="bg-BG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г.</a:t>
            </a:r>
            <a:r>
              <a:rPr lang="en-US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 </a:t>
            </a:r>
            <a:r>
              <a:rPr lang="bg-BG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И </a:t>
            </a:r>
            <a:r>
              <a:rPr lang="en-US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&lt;5</a:t>
            </a:r>
            <a:r>
              <a:rPr lang="bg-BG" sz="1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г.</a:t>
            </a:r>
            <a:r>
              <a:rPr lang="en-US" sz="1000" baseline="30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3</a:t>
            </a:r>
            <a:endParaRPr lang="en-GB" sz="1000" baseline="300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sp>
        <p:nvSpPr>
          <p:cNvPr id="75" name="Oval 74"/>
          <p:cNvSpPr/>
          <p:nvPr/>
        </p:nvSpPr>
        <p:spPr>
          <a:xfrm>
            <a:off x="465565" y="3540056"/>
            <a:ext cx="324000" cy="324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900" b="1" dirty="0" smtClean="0">
                <a:solidFill>
                  <a:prstClr val="black"/>
                </a:solidFill>
              </a:rPr>
              <a:t>5.3%</a:t>
            </a:r>
            <a:endParaRPr lang="en-GB" sz="900" b="1" dirty="0">
              <a:solidFill>
                <a:prstClr val="black"/>
              </a:solidFill>
            </a:endParaRPr>
          </a:p>
        </p:txBody>
      </p:sp>
      <p:graphicFrame>
        <p:nvGraphicFramePr>
          <p:cNvPr id="76" name="Chart 7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35124915"/>
              </p:ext>
            </p:extLst>
          </p:nvPr>
        </p:nvGraphicFramePr>
        <p:xfrm>
          <a:off x="5260948" y="1982663"/>
          <a:ext cx="3276535" cy="1944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7" name="TextBox 76"/>
          <p:cNvSpPr txBox="1"/>
          <p:nvPr/>
        </p:nvSpPr>
        <p:spPr>
          <a:xfrm>
            <a:off x="5765199" y="2187020"/>
            <a:ext cx="14398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  <a:latin typeface="Calibri"/>
              </a:rPr>
              <a:t>Търговия;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  <a:latin typeface="Calibri"/>
              </a:rPr>
              <a:t>Ремонт на автомобили</a:t>
            </a:r>
            <a:endParaRPr lang="en-GB" sz="1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8" name="TextBox 17"/>
          <p:cNvSpPr txBox="1"/>
          <p:nvPr/>
        </p:nvSpPr>
        <p:spPr>
          <a:xfrm>
            <a:off x="5061960" y="2980991"/>
            <a:ext cx="87716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</a:rPr>
              <a:t>Транспорт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  <a:r>
              <a:rPr lang="bg-BG" sz="1000" dirty="0">
                <a:solidFill>
                  <a:prstClr val="black"/>
                </a:solidFill>
              </a:rPr>
              <a:t>и</a:t>
            </a:r>
            <a:r>
              <a:rPr lang="en-US" sz="1000" dirty="0">
                <a:solidFill>
                  <a:prstClr val="black"/>
                </a:solidFill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</a:rPr>
              <a:t>Складиране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5994586" y="3181046"/>
            <a:ext cx="102624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b="1" dirty="0">
                <a:solidFill>
                  <a:prstClr val="white"/>
                </a:solidFill>
                <a:latin typeface="Calibri"/>
              </a:rPr>
              <a:t>Преработващ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b="1" dirty="0">
                <a:solidFill>
                  <a:prstClr val="white"/>
                </a:solidFill>
                <a:latin typeface="Calibri"/>
              </a:rPr>
              <a:t>промишленост</a:t>
            </a:r>
            <a:endParaRPr lang="en-GB" sz="1000" b="1" dirty="0">
              <a:solidFill>
                <a:prstClr val="white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746966" y="3668556"/>
            <a:ext cx="12602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  <a:latin typeface="Calibri"/>
              </a:rPr>
              <a:t>Хотелиерство</a:t>
            </a:r>
            <a:endParaRPr lang="en-US" sz="1000" dirty="0">
              <a:solidFill>
                <a:prstClr val="black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  <a:latin typeface="Calibri"/>
              </a:rPr>
              <a:t>и ресторантьорство</a:t>
            </a:r>
            <a:endParaRPr lang="en-GB" sz="10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29" name="Straight Connector 28"/>
          <p:cNvCxnSpPr>
            <a:stCxn id="81" idx="0"/>
          </p:cNvCxnSpPr>
          <p:nvPr/>
        </p:nvCxnSpPr>
        <p:spPr>
          <a:xfrm flipH="1" flipV="1">
            <a:off x="7118691" y="3254818"/>
            <a:ext cx="258416" cy="4137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19"/>
          <p:cNvSpPr txBox="1"/>
          <p:nvPr/>
        </p:nvSpPr>
        <p:spPr>
          <a:xfrm>
            <a:off x="7767997" y="1700807"/>
            <a:ext cx="142058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</a:rPr>
              <a:t>Административн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</a:rPr>
              <a:t>и спомагателни услуги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8256813" y="2734770"/>
            <a:ext cx="9188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  <a:latin typeface="Calibri"/>
              </a:rPr>
              <a:t>Строителство</a:t>
            </a:r>
            <a:endParaRPr lang="en-GB" sz="10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34" name="Straight Connector 33"/>
          <p:cNvCxnSpPr>
            <a:stCxn id="85" idx="2"/>
          </p:cNvCxnSpPr>
          <p:nvPr/>
        </p:nvCxnSpPr>
        <p:spPr>
          <a:xfrm flipH="1">
            <a:off x="8035339" y="2100917"/>
            <a:ext cx="442949" cy="2091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 flipH="1">
            <a:off x="8279687" y="2852106"/>
            <a:ext cx="118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/>
          <p:cNvSpPr txBox="1"/>
          <p:nvPr/>
        </p:nvSpPr>
        <p:spPr>
          <a:xfrm>
            <a:off x="8478288" y="3131708"/>
            <a:ext cx="5052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  <a:latin typeface="Calibri"/>
              </a:rPr>
              <a:t>Друго</a:t>
            </a:r>
            <a:endParaRPr lang="en-GB" sz="10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 flipH="1">
            <a:off x="8338754" y="3248705"/>
            <a:ext cx="152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8036630" y="3709150"/>
            <a:ext cx="110737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  <a:latin typeface="Calibri"/>
              </a:rPr>
              <a:t>Проф. дейности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dirty="0">
                <a:solidFill>
                  <a:prstClr val="black"/>
                </a:solidFill>
                <a:latin typeface="Calibri"/>
              </a:rPr>
              <a:t>и научни изследвания</a:t>
            </a:r>
            <a:endParaRPr lang="en-GB" sz="10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04" name="Straight Connector 103"/>
          <p:cNvCxnSpPr>
            <a:stCxn id="103" idx="0"/>
          </p:cNvCxnSpPr>
          <p:nvPr/>
        </p:nvCxnSpPr>
        <p:spPr>
          <a:xfrm flipH="1" flipV="1">
            <a:off x="8280731" y="3534382"/>
            <a:ext cx="309584" cy="17476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5561162" y="1590291"/>
            <a:ext cx="17988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bg-BG" sz="1000" b="1" dirty="0" smtClean="0">
                <a:solidFill>
                  <a:prstClr val="black"/>
                </a:solidFill>
                <a:latin typeface="Calibri"/>
              </a:rPr>
              <a:t>Портфейл по </a:t>
            </a:r>
            <a:r>
              <a:rPr lang="bg-BG" sz="1000" b="1" dirty="0">
                <a:solidFill>
                  <a:prstClr val="black"/>
                </a:solidFill>
                <a:latin typeface="Calibri"/>
              </a:rPr>
              <a:t>сектори</a:t>
            </a:r>
            <a:r>
              <a:rPr lang="en-US" sz="1000" b="1" dirty="0">
                <a:solidFill>
                  <a:prstClr val="black"/>
                </a:solidFill>
                <a:latin typeface="Calibri"/>
              </a:rPr>
              <a:t>, NACE1</a:t>
            </a:r>
            <a:endParaRPr lang="en-GB" sz="10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6" name="Line Callout 2 105"/>
          <p:cNvSpPr/>
          <p:nvPr/>
        </p:nvSpPr>
        <p:spPr>
          <a:xfrm>
            <a:off x="3318915" y="5114423"/>
            <a:ext cx="2333205" cy="261518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18829"/>
              <a:gd name="adj6" fmla="val -16655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 smtClean="0">
                <a:solidFill>
                  <a:prstClr val="black"/>
                </a:solidFill>
              </a:rPr>
              <a:t> </a:t>
            </a:r>
            <a:r>
              <a:rPr lang="bg-BG" sz="1000" dirty="0" smtClean="0">
                <a:solidFill>
                  <a:prstClr val="black"/>
                </a:solidFill>
              </a:rPr>
              <a:t>Февруари</a:t>
            </a:r>
            <a:r>
              <a:rPr lang="en-US" sz="1000" dirty="0" smtClean="0">
                <a:solidFill>
                  <a:prstClr val="black"/>
                </a:solidFill>
              </a:rPr>
              <a:t>, 2017: </a:t>
            </a:r>
            <a:r>
              <a:rPr lang="bg-BG" sz="1000" dirty="0" smtClean="0">
                <a:solidFill>
                  <a:prstClr val="black"/>
                </a:solidFill>
              </a:rPr>
              <a:t>Всички 10 банки започват отдаването</a:t>
            </a:r>
            <a:endParaRPr lang="en-GB" sz="1000" dirty="0">
              <a:solidFill>
                <a:prstClr val="black"/>
              </a:solidFill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 flipV="1">
            <a:off x="2739714" y="4437112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36190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13</a:t>
            </a:fld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7389440" cy="3474720"/>
          </a:xfrm>
        </p:spPr>
        <p:txBody>
          <a:bodyPr>
            <a:normAutofit/>
          </a:bodyPr>
          <a:lstStyle/>
          <a:p>
            <a:pPr marL="45720" indent="0">
              <a:buNone/>
            </a:pPr>
            <a:endParaRPr lang="bg-BG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 algn="ctr">
              <a:buNone/>
            </a:pP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</a:t>
            </a:r>
            <a:r>
              <a:rPr lang="bg-BG" sz="3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 изпълнението на </a:t>
            </a: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дхода ВОМР по ОПИК</a:t>
            </a:r>
            <a:endParaRPr lang="bg-BG" sz="32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1008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9592" y="67283"/>
            <a:ext cx="7560840" cy="1265615"/>
          </a:xfrm>
        </p:spPr>
        <p:txBody>
          <a:bodyPr anchor="ctr"/>
          <a:lstStyle/>
          <a:p>
            <a:pPr marL="180975" indent="0" algn="ctr">
              <a:lnSpc>
                <a:spcPct val="150000"/>
              </a:lnSpc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buNone/>
              <a:defRPr/>
            </a:pPr>
            <a:r>
              <a:rPr lang="ru-RU" sz="2200" dirty="0" err="1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2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2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2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bg-BG" sz="22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дхода </a:t>
            </a:r>
            <a:r>
              <a:rPr lang="bg-BG" sz="22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ОМР </a:t>
            </a:r>
            <a:endParaRPr lang="bg-BG" sz="22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251520" y="1124744"/>
            <a:ext cx="8712968" cy="530120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рой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добрени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ногофондови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тратегии за местно развитие </a:t>
            </a:r>
            <a:r>
              <a:rPr lang="en-US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(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СМР</a:t>
            </a:r>
            <a:r>
              <a:rPr lang="en-US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избрани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иран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мерки/операции по ОПИК  - </a:t>
            </a:r>
            <a:r>
              <a:rPr lang="ru-RU" sz="16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6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 </a:t>
            </a:r>
            <a:r>
              <a:rPr lang="en-US" sz="1600" b="1" i="1" dirty="0" smtClean="0">
                <a:solidFill>
                  <a:srgbClr val="00B0F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endParaRPr lang="en-US" sz="16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юджет на МСМР </a:t>
            </a:r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  <a:cs typeface="Tahoma" pitchFamily="34" charset="0"/>
              </a:rPr>
              <a:t>- </a:t>
            </a:r>
            <a:r>
              <a:rPr lang="en-US" sz="16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5 226 234,39 </a:t>
            </a:r>
            <a:r>
              <a:rPr lang="en-US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EUR</a:t>
            </a: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2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ФС ВОМР </a:t>
            </a:r>
            <a:r>
              <a:rPr lang="ru-RU" sz="16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за </a:t>
            </a:r>
            <a:r>
              <a:rPr lang="ru-RU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ЮЗР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общ бюджет </a:t>
            </a:r>
            <a:r>
              <a:rPr lang="ru-RU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3 </a:t>
            </a:r>
            <a:r>
              <a:rPr lang="ru-RU" sz="16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29 </a:t>
            </a:r>
            <a:r>
              <a:rPr lang="ru-RU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328,00 </a:t>
            </a:r>
            <a:r>
              <a:rPr lang="ru-RU" sz="1600" b="1" dirty="0" err="1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16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r>
              <a:rPr lang="ru-RU" sz="1600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(352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049,00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 по ПО1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                    2 777 279,00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 по ПО2);</a:t>
            </a:r>
            <a:endParaRPr lang="ru-RU" sz="16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Разпределение на 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юджета по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оритетни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си:</a:t>
            </a:r>
          </a:p>
          <a:p>
            <a:pPr marL="501015" lvl="1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. Приоритетна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с 1 </a:t>
            </a: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„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Технологично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развитие и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овации</a:t>
            </a: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“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- </a:t>
            </a:r>
            <a:r>
              <a:rPr lang="en-US" sz="16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2 095 808,43 </a:t>
            </a:r>
            <a:r>
              <a:rPr lang="en-US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EUR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  <a:r>
              <a:rPr lang="en-US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endParaRPr lang="bg-BG" sz="1600" b="1" dirty="0" smtClean="0">
              <a:solidFill>
                <a:srgbClr val="FF000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501015" lvl="1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2. Приоритетна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с 2 </a:t>
            </a: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„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приемачество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апацитет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растеж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МСП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“ </a:t>
            </a:r>
            <a:r>
              <a:rPr lang="ru-RU" sz="16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- </a:t>
            </a:r>
            <a:r>
              <a:rPr lang="en-US" sz="16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3 130 425,96 </a:t>
            </a:r>
            <a:r>
              <a:rPr lang="en-US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EUR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  <a:r>
              <a:rPr lang="en-US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endParaRPr lang="ru-RU" sz="1600" b="1" dirty="0">
              <a:solidFill>
                <a:srgbClr val="FF000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тношение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бор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ерки/операции:</a:t>
            </a:r>
          </a:p>
          <a:p>
            <a:pPr marL="501015" lvl="1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.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ключени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ейност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Приоритетна ос 1 </a:t>
            </a: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„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Технологично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развитие и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овации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“ и Приоритетна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с 2 </a:t>
            </a: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„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приемачество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апацитет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растеж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МСП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“ – </a:t>
            </a:r>
            <a:r>
              <a:rPr lang="ru-RU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8 МСМР</a:t>
            </a:r>
            <a:r>
              <a:rPr lang="ru-RU" sz="16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  <a:endParaRPr lang="ru-RU" sz="1600" b="1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501015" lvl="1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2. 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ключени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ейност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b="1" u="sng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мо</a:t>
            </a:r>
            <a:r>
              <a:rPr lang="ru-RU" sz="16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Приоритетна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с 2 </a:t>
            </a: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„</a:t>
            </a:r>
            <a:r>
              <a:rPr lang="ru-RU" sz="16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приемачество</a:t>
            </a:r>
            <a:r>
              <a:rPr lang="ru-RU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апацитет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растеж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МСП“ – </a:t>
            </a:r>
            <a:r>
              <a:rPr lang="ru-RU" sz="16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8 </a:t>
            </a:r>
            <a:r>
              <a:rPr lang="ru-RU" sz="16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МСМР</a:t>
            </a:r>
            <a:r>
              <a:rPr lang="ru-RU" sz="16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21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2123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5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1640" y="1988840"/>
            <a:ext cx="6512511" cy="1143000"/>
          </a:xfrm>
        </p:spPr>
        <p:txBody>
          <a:bodyPr/>
          <a:lstStyle/>
          <a:p>
            <a:pPr marL="45720" indent="0" algn="ctr">
              <a:spcBef>
                <a:spcPct val="20000"/>
              </a:spcBef>
              <a:spcAft>
                <a:spcPts val="300"/>
              </a:spcAft>
              <a:buSzPct val="130000"/>
              <a:buNone/>
            </a:pPr>
            <a:r>
              <a:rPr lang="bg-BG" sz="32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СТОЯЩИ ЗА ОБЯВЯВАНЕ ПРОЦЕДУРИ </a:t>
            </a:r>
          </a:p>
        </p:txBody>
      </p:sp>
    </p:spTree>
    <p:extLst>
      <p:ext uri="{BB962C8B-B14F-4D97-AF65-F5344CB8AC3E}">
        <p14:creationId xmlns:p14="http://schemas.microsoft.com/office/powerpoint/2010/main" xmlns="" val="2825306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442938" y="188640"/>
            <a:ext cx="8208911" cy="64807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7 по ПО 1 „Технологично развитие и иновации“ </a:t>
            </a:r>
            <a: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2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73448" y="1183643"/>
            <a:ext cx="8605838" cy="5472608"/>
            <a:chOff x="244475" y="980729"/>
            <a:chExt cx="8605838" cy="5472608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244475" y="1340769"/>
              <a:ext cx="8599488" cy="828227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Нараст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дела 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дприятият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коит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разработват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разпространяват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иноваци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какт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овиша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иновационния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капацитет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дприятията</a:t>
              </a:r>
              <a:endParaRPr lang="ru-RU" sz="1400" kern="0" dirty="0" smtClean="0">
                <a:solidFill>
                  <a:srgbClr val="002060"/>
                </a:solidFill>
                <a:latin typeface="+mn-lt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35 000 000 евро </a:t>
              </a:r>
              <a:r>
                <a:rPr lang="en-US" sz="14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400" kern="0" dirty="0" smtClean="0">
                  <a:solidFill>
                    <a:srgbClr val="002060"/>
                  </a:solidFill>
                  <a:latin typeface="+mn-lt"/>
                </a:rPr>
                <a:t>68 454 050 лв</a:t>
              </a:r>
              <a:r>
                <a:rPr lang="bg-BG" sz="14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4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4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4475" y="980729"/>
              <a:ext cx="8605838" cy="360040"/>
            </a:xfrm>
            <a:prstGeom prst="rect">
              <a:avLst/>
            </a:prstGeom>
            <a:solidFill>
              <a:srgbClr val="4F81BD">
                <a:lumMod val="40000"/>
                <a:lumOff val="6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Процедура „Разработване на продуктови и производствени иновации“ </a:t>
              </a:r>
              <a:endParaRPr lang="en-US" sz="1600" b="1" kern="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1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0800000">
              <a:off x="2154238" y="2297861"/>
              <a:ext cx="4786312" cy="287337"/>
            </a:xfrm>
            <a:prstGeom prst="triangle">
              <a:avLst>
                <a:gd name="adj" fmla="val 50000"/>
              </a:avLst>
            </a:prstGeom>
            <a:solidFill>
              <a:schemeClr val="bg2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8763" y="3212977"/>
              <a:ext cx="4060825" cy="324035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bg-BG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Съществуващи предприятия,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вкл. в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артньорств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с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науч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организации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Дейности по разработване на иновации в тематичните области на ИСИС 2014-2020: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Тествания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изпитвания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измервания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</a:p>
            <a:p>
              <a:pPr marL="0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ДМА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пециализиран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офтуер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.</a:t>
              </a:r>
            </a:p>
            <a:p>
              <a:pPr marL="0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щита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дустриалн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обственост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.</a:t>
              </a:r>
            </a:p>
            <a:p>
              <a:pPr marL="0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ъзда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тест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ототип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илот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линии.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787900" y="3212979"/>
              <a:ext cx="4062413" cy="3240358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Инвестицион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разход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(ДМА и ДНА)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за услуги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Оперативн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100 000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1 000 000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обявяване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 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май 2017 г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8763" y="2627013"/>
              <a:ext cx="4075113" cy="576065"/>
            </a:xfrm>
            <a:prstGeom prst="rect">
              <a:avLst/>
            </a:prstGeom>
            <a:solidFill>
              <a:srgbClr val="4F81BD">
                <a:lumMod val="40000"/>
                <a:lumOff val="6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Допустими кандидати/дейности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775200" y="2636910"/>
              <a:ext cx="4075113" cy="576067"/>
            </a:xfrm>
            <a:prstGeom prst="rect">
              <a:avLst/>
            </a:prstGeom>
            <a:solidFill>
              <a:srgbClr val="4F81BD">
                <a:lumMod val="40000"/>
                <a:lumOff val="6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Допустими разходи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4775200" y="4293096"/>
            <a:ext cx="407511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</a:ln>
          <a:effectLst/>
        </p:spPr>
      </p:cxn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9921" y="1076913"/>
            <a:ext cx="9144000" cy="4835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xmlns="" val="38032648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274091" y="188640"/>
            <a:ext cx="8605837" cy="99372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Процедури 2017 по ПО 1 „Технологично развитие и иновации“ </a:t>
            </a:r>
          </a:p>
        </p:txBody>
      </p:sp>
      <p:sp>
        <p:nvSpPr>
          <p:cNvPr id="27" name="Text Box 6"/>
          <p:cNvSpPr txBox="1">
            <a:spLocks noChangeArrowheads="1"/>
          </p:cNvSpPr>
          <p:nvPr/>
        </p:nvSpPr>
        <p:spPr bwMode="auto">
          <a:xfrm>
            <a:off x="274091" y="1628800"/>
            <a:ext cx="8605838" cy="7920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/>
        </p:spPr>
        <p:txBody>
          <a:bodyPr/>
          <a:lstStyle>
            <a:lvl1pPr marL="342900" indent="-3429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fontAlgn="auto" hangingPunct="1">
              <a:spcBef>
                <a:spcPct val="35000"/>
              </a:spcBef>
              <a:spcAft>
                <a:spcPts val="0"/>
              </a:spcAft>
              <a:buClr>
                <a:srgbClr val="1F497D"/>
              </a:buClr>
              <a:buSzPct val="110000"/>
              <a:defRPr/>
            </a:pPr>
            <a:r>
              <a:rPr lang="ru-RU" sz="1400" b="1" kern="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Основна</a:t>
            </a:r>
            <a:r>
              <a:rPr lang="ru-RU" sz="1400" b="1" kern="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цел: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+mn-lt"/>
              </a:rPr>
              <a:t>Създаване</a:t>
            </a:r>
            <a:r>
              <a:rPr lang="ru-RU" sz="1400" kern="0" dirty="0">
                <a:solidFill>
                  <a:srgbClr val="002060"/>
                </a:solidFill>
                <a:latin typeface="+mn-lt"/>
              </a:rPr>
              <a:t> на нова и </a:t>
            </a:r>
            <a:r>
              <a:rPr lang="ru-RU" sz="1400" kern="0" dirty="0" err="1">
                <a:solidFill>
                  <a:srgbClr val="002060"/>
                </a:solidFill>
                <a:latin typeface="+mn-lt"/>
              </a:rPr>
              <a:t>подобряване</a:t>
            </a:r>
            <a:r>
              <a:rPr lang="ru-RU" sz="1400" kern="0" dirty="0">
                <a:solidFill>
                  <a:srgbClr val="002060"/>
                </a:solidFill>
                <a:latin typeface="+mn-lt"/>
              </a:rPr>
              <a:t> на </a:t>
            </a:r>
            <a:r>
              <a:rPr lang="ru-RU" sz="1400" kern="0" dirty="0" err="1">
                <a:solidFill>
                  <a:srgbClr val="002060"/>
                </a:solidFill>
                <a:latin typeface="+mn-lt"/>
              </a:rPr>
              <a:t>съществуваща</a:t>
            </a:r>
            <a:r>
              <a:rPr lang="ru-RU" sz="1400" kern="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+mn-lt"/>
              </a:rPr>
              <a:t>иновативна</a:t>
            </a:r>
            <a:r>
              <a:rPr lang="ru-RU" sz="1400" kern="0" dirty="0">
                <a:solidFill>
                  <a:srgbClr val="002060"/>
                </a:solidFill>
                <a:latin typeface="+mn-lt"/>
              </a:rPr>
              <a:t> инфраструктура за </a:t>
            </a:r>
            <a:r>
              <a:rPr lang="ru-RU" sz="1400" kern="0" dirty="0" err="1">
                <a:solidFill>
                  <a:srgbClr val="002060"/>
                </a:solidFill>
                <a:latin typeface="+mn-lt"/>
              </a:rPr>
              <a:t>подпомагане</a:t>
            </a:r>
            <a:r>
              <a:rPr lang="ru-RU" sz="1400" kern="0" dirty="0">
                <a:solidFill>
                  <a:srgbClr val="002060"/>
                </a:solidFill>
                <a:latin typeface="+mn-lt"/>
              </a:rPr>
              <a:t> на </a:t>
            </a:r>
            <a:r>
              <a:rPr lang="ru-RU" sz="1400" kern="0" dirty="0" err="1">
                <a:solidFill>
                  <a:srgbClr val="002060"/>
                </a:solidFill>
                <a:latin typeface="+mn-lt"/>
              </a:rPr>
              <a:t>процеса</a:t>
            </a:r>
            <a:r>
              <a:rPr lang="ru-RU" sz="1400" kern="0" dirty="0">
                <a:solidFill>
                  <a:srgbClr val="002060"/>
                </a:solidFill>
                <a:latin typeface="+mn-lt"/>
              </a:rPr>
              <a:t> на комерсиализация на нови </a:t>
            </a:r>
            <a:r>
              <a:rPr lang="ru-RU" sz="1400" kern="0" dirty="0" err="1">
                <a:solidFill>
                  <a:srgbClr val="002060"/>
                </a:solidFill>
                <a:latin typeface="+mn-lt"/>
              </a:rPr>
              <a:t>продукти</a:t>
            </a:r>
            <a:r>
              <a:rPr lang="ru-RU" sz="1400" kern="0" dirty="0">
                <a:solidFill>
                  <a:srgbClr val="002060"/>
                </a:solidFill>
                <a:latin typeface="+mn-lt"/>
              </a:rPr>
              <a:t> </a:t>
            </a:r>
            <a:endParaRPr lang="ru-RU" sz="1400" kern="0" dirty="0" smtClean="0">
              <a:solidFill>
                <a:srgbClr val="002060"/>
              </a:solidFill>
              <a:latin typeface="+mn-lt"/>
            </a:endParaRPr>
          </a:p>
          <a:p>
            <a:pPr marL="0" indent="0" eaLnBrk="1" fontAlgn="auto" hangingPunct="1">
              <a:spcBef>
                <a:spcPct val="35000"/>
              </a:spcBef>
              <a:spcAft>
                <a:spcPts val="0"/>
              </a:spcAft>
              <a:buClr>
                <a:srgbClr val="1F497D"/>
              </a:buClr>
              <a:buSzPct val="110000"/>
              <a:defRPr/>
            </a:pPr>
            <a:r>
              <a:rPr lang="ru-RU" sz="1400" b="1" kern="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Бюджет</a:t>
            </a:r>
            <a:r>
              <a:rPr lang="ru-RU" sz="1400" b="1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: 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</a:rPr>
              <a:t>5 000 000 евро </a:t>
            </a:r>
            <a:r>
              <a:rPr lang="en-US" sz="1400" kern="0" dirty="0" smtClean="0">
                <a:solidFill>
                  <a:srgbClr val="002060"/>
                </a:solidFill>
                <a:latin typeface="+mn-lt"/>
              </a:rPr>
              <a:t>(</a:t>
            </a:r>
            <a:r>
              <a:rPr lang="bg-BG" sz="1400" dirty="0">
                <a:solidFill>
                  <a:srgbClr val="002060"/>
                </a:solidFill>
                <a:latin typeface="+mn-lt"/>
              </a:rPr>
              <a:t>9 779 150</a:t>
            </a:r>
            <a:r>
              <a:rPr lang="bg-BG" sz="1400" kern="0" dirty="0" smtClean="0">
                <a:solidFill>
                  <a:srgbClr val="002060"/>
                </a:solidFill>
                <a:latin typeface="+mn-lt"/>
              </a:rPr>
              <a:t> лв.</a:t>
            </a:r>
            <a:r>
              <a:rPr lang="en-US" sz="1400" kern="0" dirty="0" smtClean="0">
                <a:solidFill>
                  <a:srgbClr val="002060"/>
                </a:solidFill>
                <a:latin typeface="+mn-lt"/>
              </a:rPr>
              <a:t>)</a:t>
            </a:r>
            <a:endParaRPr lang="ru-RU" sz="1400" kern="0" dirty="0" smtClean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091" y="1182366"/>
            <a:ext cx="8605838" cy="446088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rPr>
              <a:t>Процедура „</a:t>
            </a:r>
            <a:r>
              <a:rPr lang="ru-RU" sz="1600" b="1" kern="0" dirty="0" err="1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rPr>
              <a:t>Създаване</a:t>
            </a:r>
            <a:r>
              <a:rPr lang="ru-RU" sz="1600" b="1" kern="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rPr>
              <a:t> и развитие на </a:t>
            </a:r>
            <a:r>
              <a:rPr lang="ru-RU" sz="1600" b="1" kern="0" dirty="0" err="1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rPr>
              <a:t>тематично</a:t>
            </a:r>
            <a:r>
              <a:rPr lang="ru-RU" sz="1600" b="1" kern="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600" b="1" kern="0" dirty="0" err="1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rPr>
              <a:t>фокусирани</a:t>
            </a:r>
            <a:r>
              <a:rPr lang="ru-RU" sz="1600" b="1" kern="0" dirty="0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600" b="1" kern="0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rPr>
              <a:t>лаборатории</a:t>
            </a:r>
            <a:r>
              <a:rPr lang="bg-BG" sz="1600" b="1" kern="0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Arial" pitchFamily="34" charset="0"/>
              </a:rPr>
              <a:t>“ </a:t>
            </a:r>
            <a:endParaRPr lang="en-US" sz="1600" b="1" kern="0" dirty="0">
              <a:solidFill>
                <a:schemeClr val="accent5">
                  <a:lumMod val="7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2061368" y="2492896"/>
            <a:ext cx="4786312" cy="451648"/>
          </a:xfrm>
          <a:prstGeom prst="triangle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0505" y="3573017"/>
            <a:ext cx="4060825" cy="2664296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8890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+mn-lt"/>
              </a:rPr>
              <a:t>Допустими кандидати: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Съществуващ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средн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и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голем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предприятия</a:t>
            </a:r>
          </a:p>
          <a:p>
            <a:pPr marL="8890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bg-BG" sz="1600" dirty="0" smtClean="0">
              <a:solidFill>
                <a:srgbClr val="002060"/>
              </a:solidFill>
              <a:latin typeface="+mn-lt"/>
            </a:endParaRPr>
          </a:p>
          <a:p>
            <a:pPr marL="8890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+mn-lt"/>
              </a:rPr>
              <a:t>Допустими дейности: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Дейност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инвестиционна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подкрепа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изграждане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на нови,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разширяване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и модернизация на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съществуващ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тематично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фокусиран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лаборатории</a:t>
            </a:r>
            <a:endParaRPr lang="bg-BG" sz="1600" dirty="0" smtClean="0">
              <a:solidFill>
                <a:srgbClr val="002060"/>
              </a:solidFill>
              <a:latin typeface="+mn-lt"/>
            </a:endParaRPr>
          </a:p>
          <a:p>
            <a:pPr marL="8890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  <a:latin typeface="+mn-lt"/>
            </a:endParaRPr>
          </a:p>
          <a:p>
            <a:pPr marL="265112" lvl="1" defTabSz="912813" eaLnBrk="0" hangingPunct="0">
              <a:lnSpc>
                <a:spcPct val="90000"/>
              </a:lnSpc>
              <a:spcBef>
                <a:spcPts val="600"/>
              </a:spcBef>
              <a:tabLst>
                <a:tab pos="542925" algn="l"/>
              </a:tabLst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87900" y="3573017"/>
            <a:ext cx="4062413" cy="2664296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600" kern="0" dirty="0" err="1">
                <a:solidFill>
                  <a:srgbClr val="002060"/>
                </a:solidFill>
                <a:latin typeface="+mn-lt"/>
                <a:cs typeface="Arial" pitchFamily="34" charset="0"/>
              </a:rPr>
              <a:t>Инвестиционни</a:t>
            </a:r>
            <a:r>
              <a:rPr lang="ru-RU" sz="1600" kern="0" dirty="0">
                <a:solidFill>
                  <a:srgbClr val="002060"/>
                </a:solidFill>
                <a:latin typeface="+mn-lt"/>
                <a:cs typeface="Arial" pitchFamily="34" charset="0"/>
              </a:rPr>
              <a:t> </a:t>
            </a:r>
            <a:r>
              <a:rPr lang="ru-RU" sz="16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разходи</a:t>
            </a:r>
            <a:r>
              <a:rPr lang="ru-RU" sz="16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(</a:t>
            </a:r>
            <a:r>
              <a:rPr lang="ru-RU" sz="1600" kern="0" dirty="0">
                <a:solidFill>
                  <a:srgbClr val="002060"/>
                </a:solidFill>
                <a:latin typeface="+mn-lt"/>
                <a:cs typeface="Arial" pitchFamily="34" charset="0"/>
              </a:rPr>
              <a:t>ДМА </a:t>
            </a:r>
            <a:r>
              <a:rPr lang="ru-RU" sz="16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и ДНА)</a:t>
            </a:r>
            <a:endParaRPr lang="ru-RU" sz="1600" kern="0" dirty="0">
              <a:solidFill>
                <a:srgbClr val="002060"/>
              </a:solidFill>
              <a:latin typeface="+mn-lt"/>
              <a:cs typeface="Arial" pitchFamily="34" charset="0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600" kern="0" dirty="0" err="1">
                <a:solidFill>
                  <a:srgbClr val="002060"/>
                </a:solidFill>
                <a:latin typeface="+mn-lt"/>
                <a:cs typeface="Arial" pitchFamily="34" charset="0"/>
              </a:rPr>
              <a:t>Разходи</a:t>
            </a:r>
            <a:r>
              <a:rPr lang="ru-RU" sz="1600" kern="0" dirty="0">
                <a:solidFill>
                  <a:srgbClr val="002060"/>
                </a:solidFill>
                <a:latin typeface="+mn-lt"/>
                <a:cs typeface="Arial" pitchFamily="34" charset="0"/>
              </a:rPr>
              <a:t> за СМР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Минимален размер на </a:t>
            </a:r>
            <a:r>
              <a:rPr lang="ru-RU" sz="1400" b="1" dirty="0" err="1" smtClean="0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100 000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.  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Максимален размер на </a:t>
            </a:r>
            <a:r>
              <a:rPr lang="ru-RU" sz="1400" b="1" dirty="0" err="1" smtClean="0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1 250 000 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.  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b="1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Дата на </a:t>
            </a:r>
            <a:r>
              <a:rPr lang="ru-RU" sz="1400" b="1" dirty="0" err="1" smtClean="0">
                <a:solidFill>
                  <a:srgbClr val="002060"/>
                </a:solidFill>
                <a:latin typeface="+mn-lt"/>
              </a:rPr>
              <a:t>обявяване</a:t>
            </a: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: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септемвр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2017 г. </a:t>
            </a: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0505" y="3089257"/>
            <a:ext cx="4056855" cy="483760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Допустими кандидати/дейности </a:t>
            </a:r>
            <a:endParaRPr lang="en-US" sz="1600" b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73786" y="3089257"/>
            <a:ext cx="4062413" cy="483760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Допустими разходи </a:t>
            </a:r>
            <a:endParaRPr lang="en-US" sz="1600" b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978400" y="4437112"/>
            <a:ext cx="3600450" cy="0"/>
          </a:xfrm>
          <a:prstGeom prst="line">
            <a:avLst/>
          </a:prstGeom>
          <a:noFill/>
          <a:ln w="9525" cap="flat" cmpd="sng" algn="ctr">
            <a:solidFill>
              <a:srgbClr val="050595"/>
            </a:solidFill>
            <a:prstDash val="solid"/>
          </a:ln>
          <a:effectLst/>
        </p:spPr>
      </p:cxn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5010" y="1052736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740538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467544" y="188640"/>
            <a:ext cx="8208911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7 по ПО 2 „Предприемачество и капацитет за растеж на МСП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58763" y="1268760"/>
            <a:ext cx="8605838" cy="1296145"/>
            <a:chOff x="258763" y="1340768"/>
            <a:chExt cx="8605838" cy="1296145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258763" y="1863799"/>
              <a:ext cx="8599488" cy="773114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Създа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и развитие на нови предприятия в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специфич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сфер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свърза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с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преодоляване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европейскит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регионал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предизвикателств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секторит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НСНМСП</a:t>
              </a: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</a:t>
              </a:r>
              <a:r>
                <a:rPr lang="ru-RU" sz="14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: 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34 373 012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евро </a:t>
              </a:r>
              <a:r>
                <a:rPr lang="en-US" sz="14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67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227 768.06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.)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8763" y="1340768"/>
              <a:ext cx="8605838" cy="523031"/>
            </a:xfrm>
            <a:prstGeom prst="rect">
              <a:avLst/>
            </a:prstGeom>
            <a:solidFill>
              <a:srgbClr val="4F81BD">
                <a:lumMod val="40000"/>
                <a:lumOff val="6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1600" b="1" kern="0" dirty="0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Насърчаване</a:t>
              </a:r>
              <a:r>
                <a:rPr lang="ru-RU" sz="1600" b="1" kern="0" dirty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на </a:t>
              </a:r>
              <a:r>
                <a:rPr lang="ru-RU" sz="1600" b="1" kern="0" dirty="0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предприемачеството</a:t>
              </a:r>
              <a:r>
                <a:rPr lang="ru-RU" sz="1600" b="1" kern="0" dirty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в области, </a:t>
              </a:r>
              <a:r>
                <a:rPr lang="ru-RU" sz="1600" b="1" kern="0" dirty="0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свързани</a:t>
              </a:r>
              <a:r>
                <a:rPr lang="ru-RU" sz="1600" b="1" kern="0" dirty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с европейски и </a:t>
              </a:r>
              <a:r>
                <a:rPr lang="ru-RU" sz="1600" b="1" kern="0" dirty="0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регионални</a:t>
              </a:r>
              <a:r>
                <a:rPr lang="ru-RU" sz="1600" b="1" kern="0" dirty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</a:t>
              </a:r>
              <a:r>
                <a:rPr lang="ru-RU" sz="1600" b="1" kern="0" dirty="0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предизвикателства</a:t>
              </a:r>
              <a:r>
                <a:rPr lang="ru-RU" sz="1600" b="1" kern="0" dirty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и </a:t>
              </a:r>
              <a:r>
                <a:rPr lang="ru-RU" sz="1600" b="1" kern="0" dirty="0" err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секторите</a:t>
              </a:r>
              <a:r>
                <a:rPr lang="ru-RU" sz="1600" b="1" kern="0" dirty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на </a:t>
              </a:r>
              <a:r>
                <a:rPr lang="ru-RU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НСНМСП</a:t>
              </a:r>
              <a:r>
                <a:rPr lang="bg-BG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“ </a:t>
              </a:r>
              <a:r>
                <a:rPr lang="bg-BG" sz="1600" b="1" kern="0" dirty="0" smtClean="0">
                  <a:solidFill>
                    <a:srgbClr val="FF0000"/>
                  </a:solidFill>
                  <a:latin typeface="+mj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FF0000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31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2168526" y="2636913"/>
            <a:ext cx="4786312" cy="287337"/>
          </a:xfrm>
          <a:prstGeom prst="triangle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3051" y="3552029"/>
            <a:ext cx="4285456" cy="316835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+mn-lt"/>
              </a:rPr>
              <a:t>Допустими кандидати: 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Микро, малки и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средн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предприятия с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по-малко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от три приключили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финансов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години</a:t>
            </a:r>
            <a:endParaRPr lang="ru-RU" sz="16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bg-BG" sz="16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600" b="1" dirty="0" err="1" smtClean="0">
                <a:solidFill>
                  <a:srgbClr val="002060"/>
                </a:solidFill>
                <a:latin typeface="+mn-lt"/>
              </a:rPr>
              <a:t>Допустими</a:t>
            </a:r>
            <a:r>
              <a:rPr lang="ru-RU" sz="1600" b="1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+mn-lt"/>
              </a:rPr>
              <a:t>дейности</a:t>
            </a:r>
            <a:r>
              <a:rPr lang="ru-RU" sz="1600" b="1" dirty="0" smtClean="0">
                <a:solidFill>
                  <a:srgbClr val="002060"/>
                </a:solidFill>
                <a:latin typeface="+mn-lt"/>
              </a:rPr>
              <a:t>: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Дейности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за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реализирането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предприемаческ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идеи; 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600" dirty="0" err="1">
                <a:solidFill>
                  <a:srgbClr val="002060"/>
                </a:solidFill>
                <a:latin typeface="+mn-lt"/>
              </a:rPr>
              <a:t>Дейност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за 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разработване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и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предлагане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пазара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на нови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продукт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и услуги в области,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свързан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с европейски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регионалн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предизвикателства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.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02188" y="3552031"/>
            <a:ext cx="4062413" cy="3168350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Инвестиционн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</a:t>
            </a: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разход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(ДМА и ДНА)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за услуги 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Оперативн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(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възнаграждения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, наем на помещения и др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.)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900" dirty="0" smtClean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Минимален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50 000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Максимален 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391 166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b="1" dirty="0">
                <a:solidFill>
                  <a:srgbClr val="002060"/>
                </a:solidFill>
                <a:latin typeface="+mn-lt"/>
              </a:rPr>
              <a:t>Дата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обявяване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септември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2017 г.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8763" y="2975963"/>
            <a:ext cx="4303316" cy="57606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Допустими кандидати/дейности </a:t>
            </a:r>
            <a:endParaRPr lang="en-US" sz="1600" b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89488" y="2975962"/>
            <a:ext cx="4075113" cy="576067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Допустими разходи </a:t>
            </a:r>
            <a:endParaRPr lang="en-US" sz="1600" b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808538" y="4653136"/>
            <a:ext cx="40560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w="lg" len="med"/>
          </a:ln>
          <a:effectLst/>
        </p:spPr>
      </p:cxn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9921" y="1076913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5580590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467544" y="188640"/>
            <a:ext cx="8208911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7 по ПО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3 „Енергийна и ресурсна ефективност“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58763" y="1268760"/>
            <a:ext cx="8605838" cy="1296145"/>
            <a:chOff x="258763" y="1340768"/>
            <a:chExt cx="8605838" cy="1296145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258763" y="1863799"/>
              <a:ext cx="8599488" cy="773114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овиша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ресурснат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ефективност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дприятитят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чрез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разработ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длаг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нови решения, техники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метод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</a:t>
              </a:r>
              <a:r>
                <a:rPr lang="ru-RU" sz="14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: 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36 631 331  евро </a:t>
              </a:r>
              <a:r>
                <a:rPr lang="en-US" sz="14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71 644 656,11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.)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8763" y="1340768"/>
              <a:ext cx="8605838" cy="523031"/>
            </a:xfrm>
            <a:prstGeom prst="rect">
              <a:avLst/>
            </a:prstGeom>
            <a:solidFill>
              <a:srgbClr val="4F81BD">
                <a:lumMod val="40000"/>
                <a:lumOff val="6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1600" b="1" kern="0" dirty="0" err="1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Подкрепа</a:t>
              </a:r>
              <a:r>
                <a:rPr lang="ru-RU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за </a:t>
              </a:r>
              <a:r>
                <a:rPr lang="ru-RU" sz="1600" b="1" kern="0" dirty="0" err="1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пилотни</a:t>
              </a:r>
              <a:r>
                <a:rPr lang="ru-RU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и </a:t>
              </a:r>
              <a:r>
                <a:rPr lang="ru-RU" sz="1600" b="1" kern="0" dirty="0" err="1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демонстрационни</a:t>
              </a:r>
              <a:r>
                <a:rPr lang="ru-RU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</a:t>
              </a:r>
              <a:r>
                <a:rPr lang="ru-RU" sz="1600" b="1" kern="0" dirty="0" err="1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инициативи</a:t>
              </a:r>
              <a:r>
                <a:rPr lang="ru-RU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за </a:t>
              </a:r>
              <a:r>
                <a:rPr lang="ru-RU" sz="1600" b="1" kern="0" dirty="0" err="1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ефективно</a:t>
              </a:r>
              <a:r>
                <a:rPr lang="ru-RU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</a:t>
              </a:r>
              <a:r>
                <a:rPr lang="ru-RU" sz="1600" b="1" kern="0" dirty="0" err="1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използване</a:t>
              </a:r>
              <a:r>
                <a:rPr lang="ru-RU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 на </a:t>
              </a:r>
              <a:r>
                <a:rPr lang="ru-RU" sz="1600" b="1" kern="0" dirty="0" err="1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ресурсите</a:t>
              </a:r>
              <a:r>
                <a:rPr lang="bg-BG" sz="1600" b="1" kern="0" dirty="0" smtClean="0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" pitchFamily="34" charset="0"/>
                </a:rPr>
                <a:t>“ </a:t>
              </a:r>
              <a:r>
                <a:rPr lang="bg-BG" sz="1600" b="1" kern="0" dirty="0" smtClean="0">
                  <a:solidFill>
                    <a:srgbClr val="0070C0"/>
                  </a:solidFill>
                  <a:latin typeface="+mj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70C0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31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2168526" y="2636913"/>
            <a:ext cx="4786312" cy="287337"/>
          </a:xfrm>
          <a:prstGeom prst="triangle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3051" y="3552029"/>
            <a:ext cx="4285456" cy="316835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+mn-lt"/>
              </a:rPr>
              <a:t>Допустими кандидати: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Съществуващи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МСП от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преработващата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промишленост</a:t>
            </a:r>
            <a:endParaRPr lang="ru-RU" sz="16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600" b="1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600" b="1" dirty="0" err="1" smtClean="0">
                <a:solidFill>
                  <a:srgbClr val="002060"/>
                </a:solidFill>
                <a:latin typeface="+mn-lt"/>
              </a:rPr>
              <a:t>Допустими</a:t>
            </a:r>
            <a:r>
              <a:rPr lang="ru-RU" sz="1600" b="1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+mn-lt"/>
              </a:rPr>
              <a:t>дейности</a:t>
            </a:r>
            <a:r>
              <a:rPr lang="ru-RU" sz="1600" b="1" dirty="0" smtClean="0">
                <a:solidFill>
                  <a:srgbClr val="002060"/>
                </a:solidFill>
                <a:latin typeface="+mn-lt"/>
              </a:rPr>
              <a:t>: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Дейности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за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изпълнението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на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пилотн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и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демонстрационн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инициативи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+mn-lt"/>
              </a:rPr>
              <a:t>ефективно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и устойчиво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използване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+mn-lt"/>
              </a:rPr>
              <a:t>на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ресурсите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, вкл.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област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отпадъци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, води,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рециклиране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на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метериали</a:t>
            </a: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; </a:t>
            </a:r>
            <a:endParaRPr lang="ru-RU" sz="1600" dirty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Информация и </a:t>
            </a:r>
            <a:r>
              <a:rPr lang="ru-RU" sz="1600" dirty="0" err="1" smtClean="0">
                <a:solidFill>
                  <a:srgbClr val="002060"/>
                </a:solidFill>
                <a:latin typeface="+mn-lt"/>
              </a:rPr>
              <a:t>публичност</a:t>
            </a:r>
            <a:endParaRPr lang="ru-RU" sz="1600" dirty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 smtClean="0">
              <a:solidFill>
                <a:srgbClr val="00000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02188" y="3552031"/>
            <a:ext cx="4062413" cy="3168350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Инвестиционн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</a:t>
            </a: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разход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(ДМА и ДНА)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за услуги 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за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материал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и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консумативи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за организация и управление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900" dirty="0" smtClean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Минимален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300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000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Максимален 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2 000 000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b="1" dirty="0">
                <a:solidFill>
                  <a:srgbClr val="002060"/>
                </a:solidFill>
                <a:latin typeface="+mn-lt"/>
              </a:rPr>
              <a:t>Дата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обявяване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юли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2017 г.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8763" y="2975963"/>
            <a:ext cx="4303316" cy="57606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Допустими кандидати/дейности </a:t>
            </a:r>
            <a:endParaRPr lang="en-US" sz="1600" b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89488" y="2975962"/>
            <a:ext cx="4075113" cy="576067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Допустими разходи </a:t>
            </a:r>
            <a:endParaRPr lang="en-US" sz="1600" b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808538" y="4653136"/>
            <a:ext cx="40560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w="lg" len="med"/>
          </a:ln>
          <a:effectLst/>
        </p:spPr>
      </p:cxn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9921" y="1076913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3728210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28992" cy="936104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400" dirty="0" smtClean="0"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    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бщ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глед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а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en-US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               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 г.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ъм </a:t>
            </a:r>
            <a:r>
              <a:rPr lang="en-US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3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.06.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7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 </a:t>
            </a: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179512" y="1268760"/>
            <a:ext cx="8784976" cy="54006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 fontScale="85000" lnSpcReduction="10000"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7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яне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БФП</a:t>
            </a:r>
            <a:r>
              <a:rPr lang="en-US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чрез конкурентен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бор, 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7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иректн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яне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 БФП</a:t>
            </a:r>
            <a:r>
              <a:rPr lang="en-US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, 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4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юджет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линии,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писано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о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поразумение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„Фонд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ениджър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струмент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ългария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“ ЕАД (ФМФИБ)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те процедури и финансовото споразумение с ФМФИБ са на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тойност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,4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7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0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млн.</a:t>
            </a:r>
            <a:r>
              <a:rPr lang="bg-BG" sz="180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/ приблизително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59 %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бюджета на ОПИК;</a:t>
            </a:r>
            <a:endParaRPr lang="ru-RU" sz="18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програмата са с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люче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163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договора с общ размер на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енат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БФП 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,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14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ев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(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редствата са предоставени по ПО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, 2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, 3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и 5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;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роят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ключените договори на територията на Югозападен район е 222 (</a:t>
            </a:r>
            <a:r>
              <a:rPr lang="bg-BG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9%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всички сключени договори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, 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ато размерът на БФП възлиза на 120 812 513,59 </a:t>
            </a:r>
            <a:r>
              <a:rPr lang="bg-BG" sz="1800" b="1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endParaRPr lang="en-US" sz="1800" b="1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761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говора за БФП,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риключени </a:t>
            </a:r>
            <a:r>
              <a:rPr lang="en-US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(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 извършени финални плащания</a:t>
            </a:r>
            <a:r>
              <a:rPr lang="en-US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а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382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говора, 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т които </a:t>
            </a:r>
            <a:r>
              <a:rPr lang="bg-BG" sz="18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4</a:t>
            </a:r>
            <a:r>
              <a:rPr lang="bg-BG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3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 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територията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bg-BG" sz="18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Югозападен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район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върше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лащания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чалот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ериода -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414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лева,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ключителн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15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млн. лева з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струмент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,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оет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ставляв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7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%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ия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бюджет н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мат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ертифицира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редства </a:t>
            </a:r>
            <a:r>
              <a:rPr lang="ru-RU" sz="180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– </a:t>
            </a:r>
            <a:r>
              <a:rPr lang="ru-RU" sz="180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301</a:t>
            </a:r>
            <a:r>
              <a:rPr lang="ru-RU" sz="180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лева,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оет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ставляв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2 %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ия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бюджет н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</a:t>
            </a: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ата.</a:t>
            </a:r>
            <a:endParaRPr lang="bg-BG" sz="14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1701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ru-RU" sz="22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</a:t>
            </a:r>
            <a:r>
              <a:rPr lang="ru-RU" sz="22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2017 </a:t>
            </a:r>
            <a:r>
              <a:rPr lang="bg-BG" sz="22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2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– директно предоставяне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22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27848721"/>
              </p:ext>
            </p:extLst>
          </p:nvPr>
        </p:nvGraphicFramePr>
        <p:xfrm>
          <a:off x="268981" y="1052736"/>
          <a:ext cx="8634039" cy="5560402"/>
        </p:xfrm>
        <a:graphic>
          <a:graphicData uri="http://schemas.openxmlformats.org/drawingml/2006/table">
            <a:tbl>
              <a:tblPr/>
              <a:tblGrid>
                <a:gridCol w="23827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87851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6469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60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, дейности и разходи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ата на обявяване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раен срок 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490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Надграждане и развитие на научно-технологичен парк „София Тех Парк“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0, 2 млн. евро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андидати</a:t>
                      </a: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„София Тех Парк“ АД</a:t>
                      </a:r>
                      <a:endParaRPr kumimoji="0" lang="ru-RU" sz="12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нтегрирана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нвестиционна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онсултантска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развитието,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нституционално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изтраждане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функциониране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вече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зградения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учно-технологичен парк 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ептември 2017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оемвр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017 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687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редоставяне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институционална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МТ за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с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вишаване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апацитета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МСП в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областта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туризма</a:t>
                      </a:r>
                      <a:endParaRPr kumimoji="0" lang="bg-BG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5 млн. евро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андидати</a:t>
                      </a: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инистерство на туризма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ъс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ъздаването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функционирането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ОУТР;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нвестиционн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услуги и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перативн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*Част от </a:t>
                      </a:r>
                      <a:r>
                        <a:rPr kumimoji="0" lang="bg-BG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мощта ще се предоставя под формата на 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«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инимална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мощ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»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Юни 2017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ктомври 2017 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110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добря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бизнес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редат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ългарскит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производители и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ъзда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условия з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зпит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ъоръжения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чрез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т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БИМ</a:t>
                      </a: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, 045 млн. евро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Български институт по метрологи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2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дейности: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с модернизация  на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зпитвателни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лаборатории за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лектромагнитна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ъвместимост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ъздействие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колната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среда, </a:t>
                      </a:r>
                      <a:r>
                        <a:rPr kumimoji="0" lang="ru-RU" sz="12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офтуер</a:t>
                      </a:r>
                      <a:r>
                        <a:rPr kumimoji="0" lang="ru-RU" sz="1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др. </a:t>
                      </a:r>
                      <a:endParaRPr kumimoji="0" lang="en-US" sz="12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Юни 2017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ктомври 2017 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14001" y="908720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065338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7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– директно предоставяне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24604880"/>
              </p:ext>
            </p:extLst>
          </p:nvPr>
        </p:nvGraphicFramePr>
        <p:xfrm>
          <a:off x="245059" y="1268760"/>
          <a:ext cx="8634039" cy="4817324"/>
        </p:xfrm>
        <a:graphic>
          <a:graphicData uri="http://schemas.openxmlformats.org/drawingml/2006/table">
            <a:tbl>
              <a:tblPr/>
              <a:tblGrid>
                <a:gridCol w="23007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0811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9604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6469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7509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, дейности и разходи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ата на обявяване/ Краен срок 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413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Устойчиво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нергийно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развитие н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ългарските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предприятия чрез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та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АУЕР</a:t>
                      </a: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 млн. евро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Агенция за устойчиво енергийно развитие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дейности: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с 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ширяван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обхвата н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еркит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услугит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едоставя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в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ферат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нергийнат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фективност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оизводството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нергия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от </a:t>
                      </a:r>
                      <a:r>
                        <a:rPr kumimoji="0" lang="ru-RU" sz="14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ъзобновяеми източниц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ептември 2017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кември 2017 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413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Фаза 2 на проект „Изграждане на междусистемна газова връзка България-Сърбия“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45 млн. евро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Министерство на енергетикат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дейности: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по фаза 2 на проект „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зграждан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междусистемн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газов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ръзк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ългария-Сърбия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“</a:t>
                      </a:r>
                      <a:endParaRPr kumimoji="0" lang="en-US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ептември 2017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оември 2017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9921" y="1076913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058004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88640"/>
            <a:ext cx="8208912" cy="1143000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bg-BG" sz="2000" dirty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Резултати от извършена </a:t>
            </a:r>
            <a:r>
              <a:rPr lang="bg-BG" sz="2000" dirty="0" err="1" smtClean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последваща</a:t>
            </a:r>
            <a:r>
              <a:rPr lang="bg-BG" sz="2000" dirty="0" smtClean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 оценка </a:t>
            </a:r>
            <a:r>
              <a:rPr lang="bg-BG" sz="2000" dirty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на въздействието на Оперативна програма </a:t>
            </a:r>
            <a:r>
              <a:rPr lang="bg-BG" sz="2000" dirty="0" smtClean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„</a:t>
            </a:r>
            <a:r>
              <a:rPr lang="bg-BG" sz="2000" dirty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Развитие на конкурентоспособността на </a:t>
            </a:r>
            <a:r>
              <a:rPr lang="bg-BG" sz="2000" dirty="0" smtClean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българската </a:t>
            </a:r>
            <a:r>
              <a:rPr lang="bg-BG" sz="2000" dirty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икономика</a:t>
            </a:r>
            <a:r>
              <a:rPr lang="bg-BG" sz="2000" dirty="0" smtClean="0">
                <a:solidFill>
                  <a:srgbClr val="002060"/>
                </a:solidFill>
                <a:ea typeface="Tahoma" pitchFamily="34" charset="0"/>
                <a:cs typeface="Tahoma" pitchFamily="34" charset="0"/>
              </a:rPr>
              <a:t>“ 2007-2013</a:t>
            </a:r>
            <a:r>
              <a:rPr lang="bg-BG" sz="2000" dirty="0" smtClean="0"/>
              <a:t> </a:t>
            </a:r>
            <a:endParaRPr lang="bg-BG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395536" y="1556792"/>
            <a:ext cx="8568952" cy="48691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3875" indent="-342900" algn="just" fontAlgn="auto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defRPr/>
            </a:pPr>
            <a:endParaRPr lang="ru-RU" sz="21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83568" y="1570565"/>
            <a:ext cx="792088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bg-BG" sz="1600" dirty="0" smtClean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2,562</a:t>
            </a:r>
            <a:r>
              <a:rPr lang="bg-BG" sz="16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ДБФП по ПО1, ПО2 и ПО4 (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11 000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подизпълнители), 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38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процедури, 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1,473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млрд. евро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(изплатени към 30.11.2016 г.) </a:t>
            </a:r>
          </a:p>
          <a:p>
            <a:pPr marL="342900" indent="-342900" algn="just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bg-BG" sz="1600" dirty="0" smtClean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9 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471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индивидуални финансирания по </a:t>
            </a:r>
            <a:r>
              <a:rPr lang="en-US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JEREMIE 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за 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910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млн. евро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(изплатени към 30.11.2016 г.);</a:t>
            </a:r>
          </a:p>
          <a:p>
            <a:pPr marL="342900" indent="-342900" algn="just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bg-BG" sz="1600" dirty="0" smtClean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82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%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от изпълнените проекти по ПО1, ПО2 и ПО4 спрямо одобрените са постигнати със 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74%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вложен ресурс – 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реализирана ефикасност</a:t>
            </a:r>
            <a:r>
              <a:rPr lang="en-US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; </a:t>
            </a:r>
            <a:endParaRPr lang="bg-BG" sz="1600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bg-BG" sz="16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Постигнат 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ефект на лоста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по ПО3 –</a:t>
            </a:r>
            <a:r>
              <a:rPr lang="bg-BG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 2.82</a:t>
            </a:r>
            <a:r>
              <a:rPr lang="en-US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.</a:t>
            </a:r>
            <a:r>
              <a:rPr lang="bg-BG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endParaRPr lang="bg-BG" sz="1600" dirty="0" smtClean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err="1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Заетост</a:t>
            </a:r>
            <a:r>
              <a:rPr lang="ru-RU" sz="16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-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↑15,4%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(</a:t>
            </a:r>
            <a:r>
              <a:rPr lang="ru-RU" sz="1600" dirty="0" err="1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бенефициенти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);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↓3,29%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(не-</a:t>
            </a:r>
            <a:r>
              <a:rPr lang="ru-RU" sz="1600" dirty="0" err="1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бенефициенти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);</a:t>
            </a:r>
          </a:p>
          <a:p>
            <a:pPr marL="342900" indent="-342900" algn="just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err="1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Добавена</a:t>
            </a:r>
            <a:r>
              <a:rPr lang="ru-RU" sz="16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стойност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–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↑35,7%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(</a:t>
            </a:r>
            <a:r>
              <a:rPr lang="ru-RU" sz="1600" dirty="0" err="1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бенефициенти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);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↑23%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(не-</a:t>
            </a:r>
            <a:r>
              <a:rPr lang="ru-RU" sz="1600" dirty="0" err="1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бенефициенти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);</a:t>
            </a:r>
          </a:p>
          <a:p>
            <a:pPr marL="342900" indent="-342900" algn="just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ru-RU" sz="1600" dirty="0" err="1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Дял</a:t>
            </a:r>
            <a:r>
              <a:rPr lang="ru-RU" sz="16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на </a:t>
            </a:r>
            <a:r>
              <a:rPr lang="ru-RU" sz="1600" dirty="0" err="1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програмата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в </a:t>
            </a:r>
            <a:r>
              <a:rPr lang="ru-RU" sz="1600" dirty="0" err="1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общите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разходи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за НИРД -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7%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(2013),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20%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(2014) и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20%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(2015), но все </a:t>
            </a:r>
            <a:r>
              <a:rPr lang="ru-RU" sz="1600" dirty="0" err="1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още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0,96%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от БВП при цел </a:t>
            </a:r>
            <a:r>
              <a:rPr lang="ru-RU" sz="1600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1,20%</a:t>
            </a:r>
            <a:r>
              <a:rPr lang="ru-RU" sz="1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за 2015 г</a:t>
            </a:r>
            <a:r>
              <a:rPr lang="ru-RU" sz="16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.</a:t>
            </a:r>
          </a:p>
          <a:p>
            <a:pPr marL="342900" indent="-342900" algn="just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bg-BG" sz="1600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1327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142072" y="2060848"/>
            <a:ext cx="7390368" cy="2016224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endParaRPr lang="bg-BG" sz="4000" dirty="0" smtClean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bg-BG" sz="4000" dirty="0" smtClean="0">
                <a:solidFill>
                  <a:srgbClr val="002060"/>
                </a:solidFill>
              </a:rPr>
              <a:t>Благодаря за вниманието</a:t>
            </a:r>
            <a:endParaRPr lang="bg-BG" sz="4000" dirty="0">
              <a:solidFill>
                <a:srgbClr val="00206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78867" y="1598613"/>
            <a:ext cx="41817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lvl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</a:pPr>
            <a:r>
              <a:rPr lang="en-US" sz="40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hlinkClick r:id="rId2"/>
              </a:rPr>
              <a:t>www.opic.bg</a:t>
            </a:r>
            <a:r>
              <a:rPr lang="bg-BG" sz="40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 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25692" y="4725144"/>
            <a:ext cx="8075413" cy="1972851"/>
            <a:chOff x="773899" y="18005"/>
            <a:chExt cx="8075413" cy="1972851"/>
          </a:xfrm>
        </p:grpSpPr>
        <p:grpSp>
          <p:nvGrpSpPr>
            <p:cNvPr id="12" name="Group 11"/>
            <p:cNvGrpSpPr/>
            <p:nvPr/>
          </p:nvGrpSpPr>
          <p:grpSpPr>
            <a:xfrm>
              <a:off x="773899" y="195811"/>
              <a:ext cx="4893029" cy="1502945"/>
              <a:chOff x="773899" y="195811"/>
              <a:chExt cx="4893029" cy="1502945"/>
            </a:xfrm>
          </p:grpSpPr>
          <p:pic>
            <p:nvPicPr>
              <p:cNvPr id="15" name="Picture 14" descr="OPIC1BG_COLOR_DOWN.fw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768968" y="316217"/>
                <a:ext cx="1897960" cy="1376425"/>
              </a:xfrm>
              <a:prstGeom prst="rect">
                <a:avLst/>
              </a:prstGeom>
            </p:spPr>
          </p:pic>
          <p:pic>
            <p:nvPicPr>
              <p:cNvPr id="16" name="Picture 15" descr="Description: textEU+LOGO.fw.png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899" y="195811"/>
                <a:ext cx="1512168" cy="150294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3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 xmlns="">
                    <a14:imgLayer r:embed="rId6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8005"/>
              <a:ext cx="2189080" cy="197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667077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54DDAA-69BB-4BC9-A64E-D633361939AD}" type="slidenum">
              <a:rPr kumimoji="0" lang="bg-BG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bg-BG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8496944" cy="1152128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дадени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ектни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предложения 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място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-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Ю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ЗР </a:t>
            </a:r>
            <a:b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sz="2400" dirty="0" err="1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по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 2014-2020 г. 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ъм </a:t>
            </a:r>
            <a:r>
              <a:rPr lang="en-US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3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.06.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7 г. 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xmlns="" val="2656493978"/>
              </p:ext>
            </p:extLst>
          </p:nvPr>
        </p:nvGraphicFramePr>
        <p:xfrm>
          <a:off x="539552" y="1700808"/>
          <a:ext cx="8208910" cy="44929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885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327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8762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54395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>
                          <a:effectLst/>
                        </a:rPr>
                        <a:t>Процедура</a:t>
                      </a:r>
                      <a:endParaRPr lang="bg-BG" sz="1200" b="1" i="0" u="none" strike="noStrike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>
                          <a:effectLst/>
                        </a:rPr>
                        <a:t>Подадени проектни предложения</a:t>
                      </a:r>
                      <a:endParaRPr lang="bg-BG" sz="1200" b="1" i="0" u="none" strike="noStrike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effectLst/>
                        </a:rPr>
                        <a:t>Общ размер на </a:t>
                      </a:r>
                      <a:r>
                        <a:rPr lang="bg-BG" sz="1200" b="1" u="none" strike="noStrike" noProof="0" dirty="0" smtClean="0">
                          <a:effectLst/>
                        </a:rPr>
                        <a:t>заявената</a:t>
                      </a:r>
                      <a:r>
                        <a:rPr lang="ru-RU" sz="1200" b="1" u="none" strike="noStrike" baseline="0" dirty="0" smtClean="0">
                          <a:effectLst/>
                        </a:rPr>
                        <a:t> </a:t>
                      </a:r>
                      <a:r>
                        <a:rPr lang="bg-BG" sz="1200" b="1" u="none" strike="noStrike" baseline="0" noProof="0" dirty="0" smtClean="0">
                          <a:effectLst/>
                        </a:rPr>
                        <a:t>безвъзмездна финансова помощ</a:t>
                      </a:r>
                      <a:endParaRPr lang="bg-BG" sz="1200" b="1" i="0" u="none" strike="noStrike" noProof="0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6236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BG16RFOP002-1.001 „ПОДКРЕПА ЗА ВНЕДРЯВАНЕ НА ИНОВАЦИИ В ПРЕДПРИЯТИЯТА“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7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858 257.40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776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BG16RFOP002-1.002 „ ПОДКРЕПА ЗА РАЗРАБОТВАНЕ НА ИНОВАЦИИ В СТАРТИРАЩИ ПРЕДПРИЯТИЯ“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7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 882 836.36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5439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BG16RFOP002-2.001 „ПОДОБРЯВАНЕ НА ПРОИЗВОДСТВЕНИЯ КАПАЦИТЕТ В МСП“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7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465 751.53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5439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BG16RFOP002-2.002 „РАЗВИТИЕ НА УПРАВЛЕНСКИЯ КАПАЦИТЕТ И РАСТЕЖ НА МСП“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6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 071 093.71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5439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BG16RFOP002-2.009 „РАЗВИТИЕ НА КЛЪСТЕРИ В БЪЛГАРИЯ“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783 801.45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5439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BG16RFOP002-3.001 „ЕНЕРГИЙНА ЕФЕКТИВНОСТ ЗА МАЛКИТЕ И СРЕДНИ ПРЕДПРИЯТИЯ“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4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 180 875.86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776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BG16RFOP002-3.002 „ПОВИШАВАНЕ НА ЕНЕРГИЙНАТА ЕФЕКТИВНОСТ В ГОЛЕМИ ПРЕДПРИЯТИЯ’’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067 657.26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2930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>
                          <a:effectLst/>
                        </a:rPr>
                        <a:t>Общо:</a:t>
                      </a:r>
                      <a:endParaRPr lang="bg-BG" sz="12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16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6 310 273.57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8945532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54DDAA-69BB-4BC9-A64E-D633361939AD}" type="slidenum">
              <a:rPr kumimoji="0" lang="bg-BG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bg-BG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260648"/>
            <a:ext cx="8496944" cy="1224136"/>
          </a:xfrm>
        </p:spPr>
        <p:txBody>
          <a:bodyPr/>
          <a:lstStyle/>
          <a:p>
            <a:pPr marL="0" indent="0" algn="ctr">
              <a:buNone/>
            </a:pP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ключени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договори на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територията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ЮЗР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по ОПИК 2014-2020 г.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ъм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3.06.2017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 </a:t>
            </a: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xmlns="" val="1035100582"/>
              </p:ext>
            </p:extLst>
          </p:nvPr>
        </p:nvGraphicFramePr>
        <p:xfrm>
          <a:off x="467544" y="1556792"/>
          <a:ext cx="8352928" cy="4561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66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366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196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56760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000" u="none" strike="noStrike" dirty="0">
                          <a:effectLst/>
                        </a:rPr>
                        <a:t>Процедура</a:t>
                      </a:r>
                      <a:endParaRPr lang="bg-BG" sz="1000" b="1" i="0" u="none" strike="noStrike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000" u="none" strike="noStrike" dirty="0">
                          <a:effectLst/>
                        </a:rPr>
                        <a:t>Брой </a:t>
                      </a:r>
                      <a:r>
                        <a:rPr lang="bg-BG" sz="1000" u="none" strike="noStrike" dirty="0" smtClean="0">
                          <a:effectLst/>
                        </a:rPr>
                        <a:t>договори за безвъзмездна</a:t>
                      </a:r>
                      <a:r>
                        <a:rPr lang="bg-BG" sz="1000" u="none" strike="noStrike" baseline="0" dirty="0" smtClean="0">
                          <a:effectLst/>
                        </a:rPr>
                        <a:t> финансова помощ (ДБФП)</a:t>
                      </a:r>
                      <a:endParaRPr lang="bg-BG" sz="1000" b="1" i="0" u="none" strike="noStrike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000" u="none" strike="noStrike" dirty="0">
                          <a:effectLst/>
                        </a:rPr>
                        <a:t>Договорена безвъзмездна финансова помощ</a:t>
                      </a:r>
                      <a:endParaRPr lang="bg-BG" sz="1000" b="1" i="0" u="none" strike="noStrike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9258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BG16RFOP002-1.001 „ПОДКРЕПА ЗА ВНЕДРЯВАНЕ НА ИНОВАЦИИ В ПРЕДПРИЯТИЯТА“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20 683.40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1499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BG16RFOP002-1.002 „ ПОДКРЕПА ЗА РАЗРАБОТВАНЕ НА ИНОВАЦИИ В СТАРТИРАЩИ ПРЕДПРИЯТИЯ“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90 289.21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8064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>
                          <a:effectLst/>
                        </a:rPr>
                        <a:t>BG16RFOP002-2.001 „ПОДОБРЯВАНЕ НА ПРОИЗВОДСТВЕНИЯ КАПАЦИТЕТ В МСП“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187 413.71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8064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BG16RFOP002-2.002 „РАЗВИТИЕ НА УПРАВЛЕНСКИЯ КАПАЦИТЕТ И РАСТЕЖ НА МСП“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0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824 331.94 лв.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46292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Общо сключени договори:</a:t>
                      </a:r>
                      <a:endParaRPr lang="bg-BG" sz="1200" b="1" i="0" u="none" strike="noStrike" dirty="0">
                        <a:solidFill>
                          <a:srgbClr val="FF0000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213</a:t>
                      </a:r>
                      <a:endParaRPr lang="bg-BG" sz="1200" b="1" i="0" u="none" strike="noStrike" dirty="0">
                        <a:solidFill>
                          <a:srgbClr val="FF0000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77 322 718.26 лв.</a:t>
                      </a:r>
                    </a:p>
                  </a:txBody>
                  <a:tcPr marL="6115" marR="6115" marT="611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89584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Общо приключени договори:</a:t>
                      </a:r>
                      <a:endParaRPr lang="bg-BG" sz="12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43</a:t>
                      </a:r>
                      <a:endParaRPr lang="ru-RU" sz="1200" b="1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7 228 957.07 </a:t>
                      </a:r>
                      <a:r>
                        <a:rPr lang="ru-RU" sz="1200" b="1" u="none" strike="noStrike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лв</a:t>
                      </a:r>
                      <a:r>
                        <a:rPr lang="ru-RU" sz="1200" b="1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.</a:t>
                      </a:r>
                      <a:endParaRPr lang="ru-RU" sz="1200" b="1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</a:endParaRPr>
                    </a:p>
                  </a:txBody>
                  <a:tcPr marL="6115" marR="6115" marT="6115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507342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54DDAA-69BB-4BC9-A64E-D633361939AD}" type="slidenum">
              <a:rPr kumimoji="0" lang="bg-BG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bg-BG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51519" y="116632"/>
            <a:ext cx="8712968" cy="13681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ключени договори по процедури за директно предоставяне на безвъзмездна финансова помощ на територията на ЮЗР по ОПИК 2014-2020 г. към 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3.06.2017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 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65538790"/>
              </p:ext>
            </p:extLst>
          </p:nvPr>
        </p:nvGraphicFramePr>
        <p:xfrm>
          <a:off x="431540" y="1628800"/>
          <a:ext cx="8352927" cy="4578408"/>
        </p:xfrm>
        <a:graphic>
          <a:graphicData uri="http://schemas.openxmlformats.org/drawingml/2006/table">
            <a:tbl>
              <a:tblPr/>
              <a:tblGrid>
                <a:gridCol w="4575952">
                  <a:extLst>
                    <a:ext uri="{9D8B030D-6E8A-4147-A177-3AD203B41FA5}">
                      <a16:colId xmlns="" xmlns:a16="http://schemas.microsoft.com/office/drawing/2014/main" val="3734845830"/>
                    </a:ext>
                  </a:extLst>
                </a:gridCol>
                <a:gridCol w="1597951">
                  <a:extLst>
                    <a:ext uri="{9D8B030D-6E8A-4147-A177-3AD203B41FA5}">
                      <a16:colId xmlns="" xmlns:a16="http://schemas.microsoft.com/office/drawing/2014/main" val="1642019084"/>
                    </a:ext>
                  </a:extLst>
                </a:gridCol>
                <a:gridCol w="2179024">
                  <a:extLst>
                    <a:ext uri="{9D8B030D-6E8A-4147-A177-3AD203B41FA5}">
                      <a16:colId xmlns="" xmlns:a16="http://schemas.microsoft.com/office/drawing/2014/main" val="2860246145"/>
                    </a:ext>
                  </a:extLst>
                </a:gridCol>
              </a:tblGrid>
              <a:tr h="662641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  <a:t>Процедура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67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000" b="1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  <a:t>Брой договори за безвъзмездна финансова помощ (ДБФП)</a:t>
                      </a:r>
                      <a:endParaRPr lang="bg-BG" sz="1000" b="1" i="0" u="none" strike="noStrike" noProof="0" dirty="0">
                        <a:solidFill>
                          <a:srgbClr val="FFFFF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67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  <a:t>Договорена безвъзмездна финансова помощ</a:t>
                      </a:r>
                      <a:r>
                        <a:rPr lang="bg-BG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  <a:t/>
                      </a:r>
                      <a:br>
                        <a:rPr lang="bg-BG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</a:br>
                      <a:endParaRPr lang="bg-BG" sz="700" b="1" i="0" u="none" strike="noStrike" dirty="0">
                        <a:solidFill>
                          <a:srgbClr val="FFFFF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67C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15698760"/>
                  </a:ext>
                </a:extLst>
              </a:tr>
              <a:tr h="33799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1.003 ФАЗА 2 НА ПРОЕКТ „СЪЗДАВАНЕ НА НАУЧНО-ТЕХНОЛОГИЧЕН ПАРК“ </a:t>
                      </a:r>
                      <a:endParaRPr lang="ru-RU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73 362.81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29847467"/>
                  </a:ext>
                </a:extLst>
              </a:tr>
              <a:tr h="8271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3 „СЪЗДАВАНЕ НА УСЛОВИЯ ЗА УСТОЙЧИВО РАЗВИТИЕ И УСПЕШНО ИНТЕГРИРАНЕ НА БЪЛГАРСКИТЕ ПРЕДПРИЯТИЯ НА ЕВРОПЕЙСКИТЕ И МЕЖДУНАРОДНИТЕ ПАЗАРИ ЧРЕЗ ПОДКРЕПА ДЕЙНОСТТА НА ИАНМСП“ </a:t>
                      </a:r>
                      <a:endParaRPr lang="ru-RU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9 000.00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21212964"/>
                  </a:ext>
                </a:extLst>
              </a:tr>
              <a:tr h="8271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4 „ПРЕДОСТАВЯНЕ НА ИНСТИТУЦИОНАЛНА ПОДКРЕПА НА ДАМТН ЗА ПОВИШАВАНЕ НА ЕФЕКТИВНОСТТА НА НАДЗОР НА ПАЗАРА, МЕТРОЛОГИЧНИЯ НАДЗОР И КОНТРОЛА НА КАЧЕСТВОТО НА ТЕЧНИТЕ ГОРИВА“ </a:t>
                      </a:r>
                      <a:endParaRPr lang="ru-RU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9 953.82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79184781"/>
                  </a:ext>
                </a:extLst>
              </a:tr>
              <a:tr h="49809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5 „ПОВИШАВАНЕ НА ЕФЕКТИВНОСТТА И ЕФИКАСНОСТТА НА УСЛУГИТЕ, ПРЕДЛАГАНИ ОТ КЗП ЗА БЪЛГАРСКИТЕ ПРЕДПРИЯТИЯ“ </a:t>
                      </a:r>
                      <a:endParaRPr lang="ru-RU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66 563.00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6142553"/>
                  </a:ext>
                </a:extLst>
              </a:tr>
              <a:tr h="49809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6 „ПОЗИЦИОНИРАНЕ НА БЪЛГАРИЯ КАТО ПОЗНАТА И ПРЕДПОЧИТАНА ДЕСТИНАЦИЯ ЗА ИНВЕСТИЦИИ ЧРЕЗ ПОДКРЕПА ДЕЙНОСТТА НА БАИ“ </a:t>
                      </a:r>
                      <a:endParaRPr lang="ru-RU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79 150.00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72194492"/>
                  </a:ext>
                </a:extLst>
              </a:tr>
              <a:tr h="6626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8 „ПРЕДОСТАВЯНЕ НА ИНСТИТУЦИОНАЛНА ПОДКРЕПА  НА ИА БСА ЗА ПОДОБРЯВАНЕ НА ИНФРАСТРУКТУРАТА ПО КАЧЕСТВОТО“ </a:t>
                      </a:r>
                      <a:endParaRPr lang="ru-RU" sz="11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91 765.70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25041204"/>
                  </a:ext>
                </a:extLst>
              </a:tr>
              <a:tr h="168995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Общо: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9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489 795.33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823398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435409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7029400" cy="4209648"/>
          </a:xfrm>
        </p:spPr>
        <p:txBody>
          <a:bodyPr>
            <a:normAutofit/>
          </a:bodyPr>
          <a:lstStyle/>
          <a:p>
            <a:pPr marL="45720" indent="0">
              <a:buNone/>
            </a:pPr>
            <a:endParaRPr lang="bg-BG" sz="2000" b="1" dirty="0" smtClean="0">
              <a:gradFill>
                <a:gsLst>
                  <a:gs pos="0">
                    <a:schemeClr val="tx1"/>
                  </a:gs>
                  <a:gs pos="40000">
                    <a:schemeClr val="tx1">
                      <a:lumMod val="75000"/>
                      <a:lumOff val="25000"/>
                    </a:schemeClr>
                  </a:gs>
                  <a:gs pos="100000">
                    <a:schemeClr val="tx2">
                      <a:alpha val="65000"/>
                    </a:schemeClr>
                  </a:gs>
                </a:gsLst>
                <a:lin ang="5400000" scaled="0"/>
              </a:gra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sz="2000" b="1" dirty="0">
              <a:gradFill>
                <a:gsLst>
                  <a:gs pos="0">
                    <a:schemeClr val="tx1"/>
                  </a:gs>
                  <a:gs pos="40000">
                    <a:schemeClr val="tx1">
                      <a:lumMod val="75000"/>
                      <a:lumOff val="25000"/>
                    </a:schemeClr>
                  </a:gs>
                  <a:gs pos="100000">
                    <a:schemeClr val="tx2">
                      <a:alpha val="65000"/>
                    </a:schemeClr>
                  </a:gs>
                </a:gsLst>
                <a:lin ang="5400000" scaled="0"/>
              </a:gra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sz="2000" b="1" dirty="0" smtClean="0">
              <a:gradFill>
                <a:gsLst>
                  <a:gs pos="0">
                    <a:schemeClr val="tx1"/>
                  </a:gs>
                  <a:gs pos="40000">
                    <a:schemeClr val="tx1">
                      <a:lumMod val="75000"/>
                      <a:lumOff val="25000"/>
                    </a:schemeClr>
                  </a:gs>
                  <a:gs pos="100000">
                    <a:schemeClr val="tx2">
                      <a:alpha val="65000"/>
                    </a:schemeClr>
                  </a:gs>
                </a:gsLst>
                <a:lin ang="5400000" scaled="0"/>
              </a:gra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 algn="ctr">
              <a:buNone/>
            </a:pP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бщ </a:t>
            </a:r>
            <a:r>
              <a:rPr lang="bg-BG" sz="3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глед на стартирани и предстоящи </a:t>
            </a: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мерки </a:t>
            </a:r>
            <a:r>
              <a:rPr lang="bg-BG" sz="3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п</a:t>
            </a: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иоритетни </a:t>
            </a:r>
            <a:r>
              <a:rPr lang="bg-BG" sz="3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си </a:t>
            </a:r>
          </a:p>
        </p:txBody>
      </p:sp>
    </p:spTree>
    <p:extLst>
      <p:ext uri="{BB962C8B-B14F-4D97-AF65-F5344CB8AC3E}">
        <p14:creationId xmlns:p14="http://schemas.microsoft.com/office/powerpoint/2010/main" xmlns="" val="419501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323528" y="188640"/>
            <a:ext cx="8352928" cy="100811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1 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„Технологично развитие и иновации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“ - общ преглед на стартирани и предстоящи мерки  </a:t>
            </a: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40016960"/>
              </p:ext>
            </p:extLst>
          </p:nvPr>
        </p:nvGraphicFramePr>
        <p:xfrm>
          <a:off x="323528" y="1124744"/>
          <a:ext cx="8424936" cy="5157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245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004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2110"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bg-BG" sz="18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Общ бюджет по ПО 1</a:t>
                      </a:r>
                      <a:r>
                        <a:rPr lang="bg-BG" sz="1800" b="1" kern="1200" baseline="0" dirty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bg-BG" sz="18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bg-BG" sz="1800" b="1" kern="1200" noProof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95 282 552 евро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bg-BG" sz="1800" b="1" kern="1200" noProof="0" dirty="0" smtClean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833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bg-BG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Стартирани процедури за БФП: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оцедур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за БФП 2018 – 2020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94493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Tx/>
                        <a:buNone/>
                      </a:pPr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недряване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иноваци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в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редприятият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50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 +10 млн. евро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наддоговаряне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  <a:endParaRPr kumimoji="0" lang="ru-RU" sz="14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ctr" defTabSz="914400" rtl="0" eaLnBrk="1" latinLnBrk="0" hangingPunct="1">
                        <a:buFontTx/>
                        <a:buNone/>
                      </a:pP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ване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иноваци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в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тартиращ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предприятия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10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  <a:endParaRPr lang="ru-RU" sz="1400" kern="1200" baseline="0" dirty="0" smtClean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Фаза 2 на проекта за научно-технологичен парк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6,3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  <a:endParaRPr kumimoji="0" lang="ru-RU" sz="14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Патентно ведомство (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4,5 млн. евро)</a:t>
                      </a: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недряването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иноваци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в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редприятият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47 млн. евро)</a:t>
                      </a:r>
                    </a:p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endParaRPr lang="ru-RU" sz="1400" kern="1200" baseline="0" dirty="0" smtClean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то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клъстер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15,3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</a:p>
                    <a:p>
                      <a:pPr marL="0" algn="ctr" defTabSz="914400" rtl="0" eaLnBrk="1" latinLnBrk="0" hangingPunct="1"/>
                      <a:endParaRPr lang="ru-RU" sz="1400" kern="1200" baseline="0" dirty="0" smtClean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насърчаване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ътрудничеството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иноваци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бизнес -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научн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организации (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12,7 млн. евро)</a:t>
                      </a:r>
                    </a:p>
                    <a:p>
                      <a:pPr marL="0" algn="ctr" defTabSz="914400" rtl="0" eaLnBrk="1" latinLnBrk="0" hangingPunct="1"/>
                      <a:endParaRPr lang="ru-RU" sz="1400" b="1" kern="1200" dirty="0" smtClean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endParaRPr lang="bg-BG" sz="1400" b="1" kern="1200" dirty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7506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Tx/>
                        <a:buNone/>
                      </a:pPr>
                      <a:r>
                        <a:rPr lang="bg-BG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ланирани процедури 2017: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bg-BG" sz="1400" b="1" kern="1200" dirty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3947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зработван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дуктов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изводствен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новаци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35 </a:t>
                      </a:r>
                      <a:r>
                        <a:rPr kumimoji="0" lang="ru-RU" sz="1400" b="1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 Създаване и развитие на тематично фокусирани лаборатории 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bg-BG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5 млн. евро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bg-BG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дграждан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и развитие на научно-технологичен парк „София Тех Парк“ (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20,2 </a:t>
                      </a:r>
                      <a:r>
                        <a:rPr kumimoji="0" lang="ru-RU" sz="1400" b="1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  <a:endParaRPr kumimoji="0" lang="bg-BG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bg-BG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9696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Финансов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инструмент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по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О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1 </a:t>
                      </a:r>
                      <a:r>
                        <a:rPr lang="ru-RU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60 млн. евро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bg-BG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9211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bg-BG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илагане на инструмента ВОМР по ПО</a:t>
                      </a:r>
                      <a:r>
                        <a:rPr lang="bg-BG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1 - </a:t>
                      </a:r>
                      <a:r>
                        <a:rPr kumimoji="0" lang="bg-BG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charset="0"/>
                          <a:ea typeface="+mn-ea"/>
                          <a:cs typeface="Arial" charset="0"/>
                        </a:rPr>
                        <a:t>19 млн.евро</a:t>
                      </a:r>
                      <a:endParaRPr kumimoji="0" lang="bg-BG" sz="1400" b="1" i="0" u="none" strike="noStrike" kern="0" cap="none" spc="0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bg-BG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6104982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323528" y="188640"/>
            <a:ext cx="8352928" cy="100811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0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</a:t>
            </a:r>
            <a:r>
              <a:rPr lang="bg-BG" sz="20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bg-BG" sz="20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„</a:t>
            </a:r>
            <a:r>
              <a:rPr lang="ru-RU" sz="2000" dirty="0" err="1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приемачество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0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0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МСП</a:t>
            </a:r>
            <a:r>
              <a:rPr lang="en-US" sz="20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”</a:t>
            </a:r>
            <a:r>
              <a:rPr lang="ru-RU" sz="20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0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- общ преглед на стартирани и предстоящи мерки   </a:t>
            </a:r>
            <a:endParaRPr lang="bg-BG" sz="20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9550542"/>
              </p:ext>
            </p:extLst>
          </p:nvPr>
        </p:nvGraphicFramePr>
        <p:xfrm>
          <a:off x="395536" y="980728"/>
          <a:ext cx="8424936" cy="578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245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004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2110"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bg-BG" sz="18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Общ бюджет по ПО</a:t>
                      </a:r>
                      <a:r>
                        <a:rPr lang="bg-BG" sz="18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2 - </a:t>
                      </a:r>
                      <a:r>
                        <a:rPr lang="bg-BG" sz="1800" b="1" kern="1200" noProof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577,492,050 евро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bg-BG" sz="1800" b="1" kern="1200" noProof="0" dirty="0" smtClean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833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bg-BG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Стартирани процедури за БФП: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оцедур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за БФП 2018 – 2020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94493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Tx/>
                        <a:buNone/>
                      </a:pPr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обряване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ствения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капацитет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150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 + 72 млн. евро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наддоговаряне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  <a:endParaRPr kumimoji="0" lang="ru-RU" sz="14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развитие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управленския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капацитет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астеж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МСП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30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</a:p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развитие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клъстер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20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  <a:endParaRPr lang="ru-RU" sz="1400" kern="1200" baseline="0" dirty="0" smtClean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институционалн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бенефициент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(ИАНМСП, КЗП, ДАМТН, БАИ, ИАБСА -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16 млн. 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endParaRPr lang="ru-RU" sz="14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обряване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ствения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капацитет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астеж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МСП, развитие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изиран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услуги за МСП и ИКТ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54 000 000 евро + 5 млн. евро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спестявания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</a:p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endParaRPr lang="ru-RU" sz="1400" kern="1200" baseline="0" dirty="0" smtClean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то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клъстер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15 млн. евро)</a:t>
                      </a:r>
                    </a:p>
                    <a:p>
                      <a:pPr marL="0" algn="ctr" defTabSz="914400" rtl="0" eaLnBrk="1" latinLnBrk="0" hangingPunct="1"/>
                      <a:endParaRPr lang="ru-RU" sz="14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endParaRPr lang="ru-RU" sz="1400" b="1" kern="1200" dirty="0" smtClean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endParaRPr lang="bg-BG" sz="1400" b="1" kern="1200" dirty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7506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Tx/>
                        <a:buNone/>
                      </a:pPr>
                      <a:r>
                        <a:rPr lang="bg-BG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ланирани процедури за БФП 2017: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bg-BG" sz="1400" b="1" kern="1200" dirty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1761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сърчаван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едприемачеството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в области,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вързан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с европейски и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гионалн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едизвикателств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34, 3 млн. евро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нституционалн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бенефициент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МТ, БИМ - 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7 </a:t>
                      </a:r>
                      <a:r>
                        <a:rPr kumimoji="0" lang="ru-RU" sz="1400" b="1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  <a:endParaRPr kumimoji="0" lang="bg-BG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bg-BG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9696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Финансов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инструмент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по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О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r>
                        <a:rPr lang="ru-RU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kumimoji="0" lang="ru-RU" sz="16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135 млн. евро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Фонд за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начално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финансиране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и фонд за рисков капитал (80 000 000 евро)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Дългов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инструмент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микрофинансиране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(15 000 000 евро)</a:t>
                      </a:r>
                    </a:p>
                    <a:p>
                      <a:pPr marL="285750" indent="-285750" algn="l" defTabSz="914400" rtl="0" eaLnBrk="1" latinLnBrk="0" hangingPunct="1">
                        <a:buFontTx/>
                        <a:buChar char="-"/>
                      </a:pP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Фонд за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съфинансиране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(40 000 000 евро)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bg-BG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9211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bg-BG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илагане на инструмента ВОМР по ПО</a:t>
                      </a:r>
                      <a:r>
                        <a:rPr lang="bg-BG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2 – </a:t>
                      </a:r>
                      <a:r>
                        <a:rPr kumimoji="0" lang="bg-BG" sz="16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44,4 млн.евро</a:t>
                      </a:r>
                      <a:endParaRPr kumimoji="0" lang="bg-BG" sz="1600" b="1" i="0" u="none" strike="noStrike" kern="0" cap="none" spc="0" normalizeH="0" baseline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bg-BG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05970952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323528" y="188640"/>
            <a:ext cx="8352928" cy="100811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3 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„</a:t>
            </a:r>
            <a:r>
              <a:rPr lang="ru-RU" sz="2400" dirty="0" err="1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Енергийна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есурсна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ефективност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“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- общ преглед на стартирани и предстоящи мерки   </a:t>
            </a: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97947773"/>
              </p:ext>
            </p:extLst>
          </p:nvPr>
        </p:nvGraphicFramePr>
        <p:xfrm>
          <a:off x="323528" y="1268760"/>
          <a:ext cx="8424936" cy="4179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245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004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1744"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bg-BG" sz="18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Общ бюджет по ПО 3</a:t>
                      </a:r>
                      <a:r>
                        <a:rPr lang="bg-BG" sz="18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bg-BG" sz="1800" b="1" kern="1200" noProof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310,686,632 евро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bg-BG" sz="1800" b="1" kern="1200" noProof="0" dirty="0" smtClean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833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bg-BG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Стартирани процедури за БФП: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оцедур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за БФП 2018 – 2020 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94493">
                <a:tc>
                  <a:txBody>
                    <a:bodyPr/>
                    <a:lstStyle/>
                    <a:p>
                      <a:pPr marL="285750" indent="-285750" algn="ctr" defTabSz="914400" rtl="0" eaLnBrk="1" latinLnBrk="0" hangingPunct="1">
                        <a:buFontTx/>
                        <a:buChar char="-"/>
                      </a:pP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енергийн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ефективност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малките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редн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предприятия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90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</a:p>
                    <a:p>
                      <a:pPr marL="0" indent="0" algn="ctr" defTabSz="914400" rtl="0" eaLnBrk="1" latinLnBrk="0" hangingPunct="1">
                        <a:buFontTx/>
                        <a:buNone/>
                      </a:pPr>
                      <a:endParaRPr kumimoji="0" lang="ru-RU" sz="14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ctr" defTabSz="914400" rtl="0" eaLnBrk="1" latinLnBrk="0" hangingPunct="1">
                        <a:buFontTx/>
                        <a:buNone/>
                      </a:pP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енергийна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ефективност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lang="ru-RU" sz="1400" kern="1200" baseline="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големи</a:t>
                      </a:r>
                      <a:r>
                        <a:rPr lang="ru-RU" sz="14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предприятия 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50 </a:t>
                      </a:r>
                      <a:r>
                        <a:rPr kumimoji="0" lang="ru-RU" sz="14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400" b="1" kern="1200" dirty="0" smtClean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енергийн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ефективност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алкит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редн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предприятия 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90 </a:t>
                      </a:r>
                      <a:r>
                        <a:rPr kumimoji="0" lang="ru-RU" sz="1400" b="1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</a:p>
                    <a:p>
                      <a:pPr marL="0" algn="ctr" defTabSz="914400" rtl="0" eaLnBrk="1" latinLnBrk="0" hangingPunct="1"/>
                      <a:endParaRPr lang="bg-BG" sz="1400" b="1" kern="1200" dirty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7506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Tx/>
                        <a:buNone/>
                      </a:pPr>
                      <a:r>
                        <a:rPr lang="bg-BG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ланирани процедури за БФП 2017: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bg-BG" sz="1400" b="1" kern="1200" dirty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242784">
                <a:tc>
                  <a:txBody>
                    <a:bodyPr/>
                    <a:lstStyle/>
                    <a:p>
                      <a:pPr marL="285750" marR="0" lvl="0" indent="-2857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ейностт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на АУЕР 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4 </a:t>
                      </a:r>
                      <a:r>
                        <a:rPr kumimoji="0" lang="ru-RU" sz="1400" b="1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  <a:p>
                      <a:pPr marL="285750" marR="0" lvl="0" indent="-2857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дкреп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илотн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емонстрационн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нициативи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з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ефективно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зползван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н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сурсит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(36,6 </a:t>
                      </a:r>
                      <a:r>
                        <a:rPr kumimoji="0" lang="ru-RU" sz="1400" b="1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  <a:endParaRPr kumimoji="0" lang="bg-BG" sz="14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bg-BG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9696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Финансов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инструменти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по </a:t>
                      </a: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О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3</a:t>
                      </a:r>
                      <a:r>
                        <a:rPr lang="ru-RU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kumimoji="0" lang="ru-RU" sz="16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40 </a:t>
                      </a:r>
                      <a:r>
                        <a:rPr kumimoji="0" lang="ru-RU" sz="16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млн.евро</a:t>
                      </a:r>
                      <a:endParaRPr kumimoji="0" lang="ru-RU" sz="1600" b="1" i="0" u="none" strike="noStrike" kern="0" cap="none" spc="0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  <a:p>
                      <a:pPr marL="0" algn="l" defTabSz="914400" rtl="0" eaLnBrk="1" latinLnBrk="0" hangingPunct="1"/>
                      <a:r>
                        <a:rPr lang="ru-RU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1600" b="1" kern="1200" baseline="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Гаранционен</a:t>
                      </a:r>
                      <a:r>
                        <a:rPr lang="ru-RU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инструмент за мерки за </a:t>
                      </a:r>
                      <a:r>
                        <a:rPr lang="ru-RU" sz="1600" b="1" kern="1200" baseline="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енергийна</a:t>
                      </a:r>
                      <a:r>
                        <a:rPr lang="ru-RU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kern="1200" baseline="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ефективност</a:t>
                      </a:r>
                      <a:r>
                        <a:rPr lang="ru-RU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 в </a:t>
                      </a:r>
                      <a:r>
                        <a:rPr lang="ru-RU" sz="1600" b="1" kern="1200" baseline="0" dirty="0" err="1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едприятията</a:t>
                      </a:r>
                      <a:r>
                        <a:rPr lang="ru-RU" sz="1600" b="1" kern="1200" baseline="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ru-RU" sz="1400" b="1" i="0" u="none" strike="noStrike" kern="0" cap="none" spc="0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bg-BG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2961913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heme/theme1.xml><?xml version="1.0" encoding="utf-8"?>
<a:theme xmlns:a="http://schemas.openxmlformats.org/drawingml/2006/main" name="Ppt0000003">
  <a:themeElements>
    <a:clrScheme name="Ppt0000003 1">
      <a:dk1>
        <a:srgbClr val="050595"/>
      </a:dk1>
      <a:lt1>
        <a:srgbClr val="FFFFFF"/>
      </a:lt1>
      <a:dk2>
        <a:srgbClr val="000000"/>
      </a:dk2>
      <a:lt2>
        <a:srgbClr val="FFFF99"/>
      </a:lt2>
      <a:accent1>
        <a:srgbClr val="FFC000"/>
      </a:accent1>
      <a:accent2>
        <a:srgbClr val="3497AE"/>
      </a:accent2>
      <a:accent3>
        <a:srgbClr val="AAAAAA"/>
      </a:accent3>
      <a:accent4>
        <a:srgbClr val="DADADA"/>
      </a:accent4>
      <a:accent5>
        <a:srgbClr val="FFDCAA"/>
      </a:accent5>
      <a:accent6>
        <a:srgbClr val="2E889D"/>
      </a:accent6>
      <a:hlink>
        <a:srgbClr val="F3EB4F"/>
      </a:hlink>
      <a:folHlink>
        <a:srgbClr val="7DDDFF"/>
      </a:folHlink>
    </a:clrScheme>
    <a:fontScheme name="Ppt0000003">
      <a:majorFont>
        <a:latin typeface="Calibri"/>
        <a:ea typeface=""/>
        <a:cs typeface="Arial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0000003 1">
        <a:dk1>
          <a:srgbClr val="050595"/>
        </a:dk1>
        <a:lt1>
          <a:srgbClr val="FFFFFF"/>
        </a:lt1>
        <a:dk2>
          <a:srgbClr val="000000"/>
        </a:dk2>
        <a:lt2>
          <a:srgbClr val="FFFF99"/>
        </a:lt2>
        <a:accent1>
          <a:srgbClr val="FFC000"/>
        </a:accent1>
        <a:accent2>
          <a:srgbClr val="3497AE"/>
        </a:accent2>
        <a:accent3>
          <a:srgbClr val="AAAAAA"/>
        </a:accent3>
        <a:accent4>
          <a:srgbClr val="DADADA"/>
        </a:accent4>
        <a:accent5>
          <a:srgbClr val="FFDCAA"/>
        </a:accent5>
        <a:accent6>
          <a:srgbClr val="2E889D"/>
        </a:accent6>
        <a:hlink>
          <a:srgbClr val="F3EB4F"/>
        </a:hlink>
        <a:folHlink>
          <a:srgbClr val="7DDD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5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6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7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8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9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0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5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16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7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18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9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2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9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3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4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5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6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7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8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20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32</TotalTime>
  <Words>2865</Words>
  <Application>Microsoft Office PowerPoint</Application>
  <PresentationFormat>On-screen Show (4:3)</PresentationFormat>
  <Paragraphs>420</Paragraphs>
  <Slides>23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36</vt:i4>
      </vt:variant>
      <vt:variant>
        <vt:lpstr>Slide Titles</vt:lpstr>
      </vt:variant>
      <vt:variant>
        <vt:i4>23</vt:i4>
      </vt:variant>
    </vt:vector>
  </HeadingPairs>
  <TitlesOfParts>
    <vt:vector size="59" baseType="lpstr">
      <vt:lpstr>Ppt0000003</vt:lpstr>
      <vt:lpstr>OPIK-Portrait_Transperant_14</vt:lpstr>
      <vt:lpstr>1_Slipstream</vt:lpstr>
      <vt:lpstr>2_Slipstream</vt:lpstr>
      <vt:lpstr>1_OPIK-Portrait_Transperant_14</vt:lpstr>
      <vt:lpstr>3_Slipstream</vt:lpstr>
      <vt:lpstr>4_Slipstream</vt:lpstr>
      <vt:lpstr>2_OPIK-Portrait_Transperant_14</vt:lpstr>
      <vt:lpstr>3_OPIK-Portrait_Transperant_14</vt:lpstr>
      <vt:lpstr>4_OPIK-Portrait_Transperant_14</vt:lpstr>
      <vt:lpstr>5_OPIK-Portrait_Transperant_14</vt:lpstr>
      <vt:lpstr>6_OPIK-Portrait_Transperant_14</vt:lpstr>
      <vt:lpstr>7_OPIK-Portrait_Transperant_14</vt:lpstr>
      <vt:lpstr>8_OPIK-Portrait_Transperant_14</vt:lpstr>
      <vt:lpstr>9_OPIK-Portrait_Transperant_14</vt:lpstr>
      <vt:lpstr>10_OPIK-Portrait_Transperant_14</vt:lpstr>
      <vt:lpstr>11_OPIK-Portrait_Transperant_14</vt:lpstr>
      <vt:lpstr>12_OPIK-Portrait_Transperant_14</vt:lpstr>
      <vt:lpstr>13_OPIK-Portrait_Transperant_14</vt:lpstr>
      <vt:lpstr>14_OPIK-Portrait_Transperant_14</vt:lpstr>
      <vt:lpstr>15_OPIK-Portrait_Transperant_14</vt:lpstr>
      <vt:lpstr>16_OPIK-Portrait_Transperant_14</vt:lpstr>
      <vt:lpstr>17_OPIK-Portrait_Transperant_14</vt:lpstr>
      <vt:lpstr>18_OPIK-Portrait_Transperant_14</vt:lpstr>
      <vt:lpstr>9_OPIK-Portrait_Transperant</vt:lpstr>
      <vt:lpstr>OPIK-Portrait_Transperant</vt:lpstr>
      <vt:lpstr>1_OPIK-Portrait_Transperant</vt:lpstr>
      <vt:lpstr>2_OPIK-Portrait_Transperant</vt:lpstr>
      <vt:lpstr>19_OPIK-Portrait_Transperant_14</vt:lpstr>
      <vt:lpstr>3_OPIK-Portrait_Transperant</vt:lpstr>
      <vt:lpstr>4_OPIK-Portrait_Transperant</vt:lpstr>
      <vt:lpstr>5_OPIK-Portrait_Transperant</vt:lpstr>
      <vt:lpstr>6_OPIK-Portrait_Transperant</vt:lpstr>
      <vt:lpstr>7_OPIK-Portrait_Transperant</vt:lpstr>
      <vt:lpstr>8_OPIK-Portrait_Transperant</vt:lpstr>
      <vt:lpstr>20_OPIK-Portrait_Transperant_14</vt:lpstr>
      <vt:lpstr>Напредък в изпълнението на  ОП “Иновации и конкурентоспособност“   2014-2020</vt:lpstr>
      <vt:lpstr>      Общ преглед на напредъка в изпълнението на                 ОПИК 2014-2020 г. към 23.06.2017 г. </vt:lpstr>
      <vt:lpstr>Подадени проектни предложения  с място на изпълнение - ЮЗР  в процедури по ОПИК 2014-2020 г. към 23.06.2017 г. </vt:lpstr>
      <vt:lpstr>Сключени договори на територията на ЮЗР в процедури по ОПИК 2014-2020 г. към 23.06.2017 г. </vt:lpstr>
      <vt:lpstr>Сключени договори по процедури за директно предоставяне на безвъзмездна финансова помощ на територията на ЮЗР по ОПИК 2014-2020 г. към 23.06.2017 г. </vt:lpstr>
      <vt:lpstr>Slide 6</vt:lpstr>
      <vt:lpstr>ПО 1 „Технологично развитие и иновации“ - общ преглед на стартирани и предстоящи мерки  </vt:lpstr>
      <vt:lpstr>ПО 2 „Предприемачество и капацитет за растеж на МСП” - общ преглед на стартирани и предстоящи мерки   </vt:lpstr>
      <vt:lpstr>ПО 3 „Енергийна и ресурсна ефективност“ - общ преглед на стартирани и предстоящи мерки   </vt:lpstr>
      <vt:lpstr>Slide 10</vt:lpstr>
      <vt:lpstr>Slide 11</vt:lpstr>
      <vt:lpstr>Slide 12</vt:lpstr>
      <vt:lpstr>Slide 13</vt:lpstr>
      <vt:lpstr>Напредък в изпълнението на подхода ВОМР </vt:lpstr>
      <vt:lpstr>ПРЕДСТОЯЩИ ЗА ОБЯВЯВАНЕ ПРОЦЕДУРИ </vt:lpstr>
      <vt:lpstr>Процедури 2017 по ПО 1 „Технологично развитие и иновации“   </vt:lpstr>
      <vt:lpstr>Процедури 2017 по ПО 1 „Технологично развитие и иновации“ </vt:lpstr>
      <vt:lpstr>Процедури 2017 по ПО 2 „Предприемачество и капацитет за растеж на МСП“ </vt:lpstr>
      <vt:lpstr>Процедури 2017 по ПО 3 „Енергийна и ресурсна ефективност“ </vt:lpstr>
      <vt:lpstr>Процедури 2017  – директно предоставяне </vt:lpstr>
      <vt:lpstr>Процедури 2017  – директно предоставяне </vt:lpstr>
      <vt:lpstr>Резултати от извършена последваща оценка на въздействието на Оперативна програма „Развитие на конкурентоспособността на българската икономика“ 2007-2013 </vt:lpstr>
      <vt:lpstr>Slide 23</vt:lpstr>
    </vt:vector>
  </TitlesOfParts>
  <Company>C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.gerdjikova</dc:creator>
  <cp:lastModifiedBy>DESI</cp:lastModifiedBy>
  <cp:revision>2485</cp:revision>
  <cp:lastPrinted>2017-05-11T10:20:47Z</cp:lastPrinted>
  <dcterms:created xsi:type="dcterms:W3CDTF">2011-06-13T12:15:19Z</dcterms:created>
  <dcterms:modified xsi:type="dcterms:W3CDTF">2017-06-27T20:44:12Z</dcterms:modified>
</cp:coreProperties>
</file>